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7" r:id="rId2"/>
  </p:sldIdLst>
  <p:sldSz cx="13716000" cy="17145000"/>
  <p:notesSz cx="13716000" cy="17145000"/>
  <p:custDataLst>
    <p:tags r:id="rId3"/>
  </p:custDataLst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9519D"/>
    <a:srgbClr val="3531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47B273A-86BC-46B8-9F11-805D8F70D8D3}" v="50" dt="2025-10-07T15:41:49.825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30" d="100"/>
          <a:sy n="30" d="100"/>
        </p:scale>
        <p:origin x="1888" y="44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13" Type="http://schemas.openxmlformats.org/officeDocument/2006/relationships/image" Target="../media/image16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sv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svg"/><Relationship Id="rId4" Type="http://schemas.openxmlformats.org/officeDocument/2006/relationships/image" Target="../media/image7.svg"/><Relationship Id="rId9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17.png"/><Relationship Id="rId7" Type="http://schemas.openxmlformats.org/officeDocument/2006/relationships/image" Target="../media/image12.png"/><Relationship Id="rId12" Type="http://schemas.openxmlformats.org/officeDocument/2006/relationships/image" Target="../media/image1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svg"/><Relationship Id="rId11" Type="http://schemas.openxmlformats.org/officeDocument/2006/relationships/image" Target="../media/image10.pn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8.svg"/><Relationship Id="rId9" Type="http://schemas.openxmlformats.org/officeDocument/2006/relationships/image" Target="../media/image1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oup of people running&#10;&#10;AI-generated content may be incorrect.">
            <a:extLst>
              <a:ext uri="{FF2B5EF4-FFF2-40B4-BE49-F238E27FC236}">
                <a16:creationId xmlns:a16="http://schemas.microsoft.com/office/drawing/2014/main" id="{2A71EA96-54CA-CEB5-333C-B9E6599CE3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9" y="0"/>
            <a:ext cx="13713461" cy="171450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EB1FBA70-8768-047D-BF55-E22591CF05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12984" y="10492707"/>
            <a:ext cx="11488616" cy="2173522"/>
          </a:xfrm>
          <a:prstGeom prst="rect">
            <a:avLst/>
          </a:prstGeom>
        </p:spPr>
      </p:pic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3D9E719-7D0C-0D5F-E1D7-398134F2FD54}"/>
              </a:ext>
            </a:extLst>
          </p:cNvPr>
          <p:cNvSpPr/>
          <p:nvPr userDrawn="1"/>
        </p:nvSpPr>
        <p:spPr>
          <a:xfrm>
            <a:off x="1296184" y="6096000"/>
            <a:ext cx="3885416" cy="3885416"/>
          </a:xfrm>
          <a:prstGeom prst="roundRect">
            <a:avLst>
              <a:gd name="adj" fmla="val 15412"/>
            </a:avLst>
          </a:prstGeom>
          <a:solidFill>
            <a:srgbClr val="35318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50677E9C-7467-693B-11C6-5CB8B5DAE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88440" y="6288255"/>
            <a:ext cx="3500904" cy="3500904"/>
          </a:xfrm>
          <a:custGeom>
            <a:avLst/>
            <a:gdLst>
              <a:gd name="connsiteX0" fmla="*/ 387165 w 3500904"/>
              <a:gd name="connsiteY0" fmla="*/ 0 h 3500904"/>
              <a:gd name="connsiteX1" fmla="*/ 3113739 w 3500904"/>
              <a:gd name="connsiteY1" fmla="*/ 0 h 3500904"/>
              <a:gd name="connsiteX2" fmla="*/ 3500904 w 3500904"/>
              <a:gd name="connsiteY2" fmla="*/ 387165 h 3500904"/>
              <a:gd name="connsiteX3" fmla="*/ 3500904 w 3500904"/>
              <a:gd name="connsiteY3" fmla="*/ 3113739 h 3500904"/>
              <a:gd name="connsiteX4" fmla="*/ 3113739 w 3500904"/>
              <a:gd name="connsiteY4" fmla="*/ 3500904 h 3500904"/>
              <a:gd name="connsiteX5" fmla="*/ 387165 w 3500904"/>
              <a:gd name="connsiteY5" fmla="*/ 3500904 h 3500904"/>
              <a:gd name="connsiteX6" fmla="*/ 0 w 3500904"/>
              <a:gd name="connsiteY6" fmla="*/ 3113739 h 3500904"/>
              <a:gd name="connsiteX7" fmla="*/ 0 w 3500904"/>
              <a:gd name="connsiteY7" fmla="*/ 387165 h 3500904"/>
              <a:gd name="connsiteX8" fmla="*/ 387165 w 3500904"/>
              <a:gd name="connsiteY8" fmla="*/ 0 h 3500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00904" h="3500904">
                <a:moveTo>
                  <a:pt x="387165" y="0"/>
                </a:moveTo>
                <a:lnTo>
                  <a:pt x="3113739" y="0"/>
                </a:lnTo>
                <a:cubicBezTo>
                  <a:pt x="3327564" y="0"/>
                  <a:pt x="3500904" y="173340"/>
                  <a:pt x="3500904" y="387165"/>
                </a:cubicBezTo>
                <a:lnTo>
                  <a:pt x="3500904" y="3113739"/>
                </a:lnTo>
                <a:cubicBezTo>
                  <a:pt x="3500904" y="3327564"/>
                  <a:pt x="3327564" y="3500904"/>
                  <a:pt x="3113739" y="3500904"/>
                </a:cubicBezTo>
                <a:lnTo>
                  <a:pt x="387165" y="3500904"/>
                </a:lnTo>
                <a:cubicBezTo>
                  <a:pt x="173340" y="3500904"/>
                  <a:pt x="0" y="3327564"/>
                  <a:pt x="0" y="3113739"/>
                </a:cubicBezTo>
                <a:lnTo>
                  <a:pt x="0" y="387165"/>
                </a:lnTo>
                <a:cubicBezTo>
                  <a:pt x="0" y="173340"/>
                  <a:pt x="173340" y="0"/>
                  <a:pt x="387165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800">
                <a:solidFill>
                  <a:schemeClr val="bg1"/>
                </a:solidFill>
                <a:latin typeface="DM Sans" pitchFamily="2" charset="0"/>
                <a:cs typeface="Poppins" panose="00000500000000000000" pitchFamily="2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7050629-E6B1-4434-AB99-2BA380A891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2600" y="8077200"/>
            <a:ext cx="6911340" cy="646331"/>
          </a:xfrm>
          <a:prstGeom prst="rect">
            <a:avLst/>
          </a:prstGeom>
        </p:spPr>
        <p:txBody>
          <a:bodyPr/>
          <a:lstStyle>
            <a:lvl1pPr>
              <a:defRPr b="1">
                <a:latin typeface="DM Sans" pitchFamily="2" charset="0"/>
                <a:cs typeface="Poppins" panose="00000500000000000000" pitchFamily="2" charset="0"/>
              </a:defRPr>
            </a:lvl1pPr>
          </a:lstStyle>
          <a:p>
            <a:pPr lvl="0"/>
            <a:r>
              <a:rPr lang="en-US" dirty="0"/>
              <a:t>Your name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0820E238-68C2-6E15-3DA4-AC597EB6A0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2600" y="8885576"/>
            <a:ext cx="6911340" cy="400110"/>
          </a:xfrm>
          <a:prstGeom prst="rect">
            <a:avLst/>
          </a:prstGeom>
        </p:spPr>
        <p:txBody>
          <a:bodyPr/>
          <a:lstStyle>
            <a:lvl1pPr>
              <a:defRPr sz="2600" b="0">
                <a:latin typeface="DM Sans" pitchFamily="2" charset="0"/>
                <a:cs typeface="Poppins" panose="00000500000000000000" pitchFamily="2" charset="0"/>
              </a:defRPr>
            </a:lvl1pPr>
          </a:lstStyle>
          <a:p>
            <a:pPr lvl="0"/>
            <a:r>
              <a:rPr lang="en-US" dirty="0"/>
              <a:t>Your title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81E102DC-32FE-122E-B324-E956BAEEC6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2600" y="9383287"/>
            <a:ext cx="6911340" cy="400110"/>
          </a:xfrm>
          <a:prstGeom prst="rect">
            <a:avLst/>
          </a:prstGeom>
        </p:spPr>
        <p:txBody>
          <a:bodyPr/>
          <a:lstStyle>
            <a:lvl1pPr>
              <a:defRPr sz="2600" b="0">
                <a:latin typeface="DM Sans" pitchFamily="2" charset="0"/>
                <a:cs typeface="Poppins" panose="00000500000000000000" pitchFamily="2" charset="0"/>
              </a:defRPr>
            </a:lvl1pPr>
          </a:lstStyle>
          <a:p>
            <a:pPr lvl="0"/>
            <a:r>
              <a:rPr lang="en-US" dirty="0"/>
              <a:t>Your country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F923BE3-CEFC-98DA-C1E5-9D933043F4B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95401" y="3262645"/>
            <a:ext cx="11125200" cy="258696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9E1F8BF0-F9DE-46CB-36F8-59E17087D6D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257800" y="856455"/>
            <a:ext cx="4648200" cy="245041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769125D8-10E3-5861-BF07-52F0026716F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415539" y="15474188"/>
            <a:ext cx="8884922" cy="823850"/>
          </a:xfrm>
          <a:prstGeom prst="rect">
            <a:avLst/>
          </a:prstGeom>
        </p:spPr>
      </p:pic>
      <p:pic>
        <p:nvPicPr>
          <p:cNvPr id="3" name="Picture 2" descr="A poster for a prostate cancer awareness event&#10;&#10;AI-generated content may be incorrect." hidden="1">
            <a:extLst>
              <a:ext uri="{FF2B5EF4-FFF2-40B4-BE49-F238E27FC236}">
                <a16:creationId xmlns:a16="http://schemas.microsoft.com/office/drawing/2014/main" id="{757C675B-D3C0-C4DB-D674-CB796B59536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alphaModFix amt="42000"/>
          </a:blip>
          <a:stretch>
            <a:fillRect/>
          </a:stretch>
        </p:blipFill>
        <p:spPr>
          <a:xfrm>
            <a:off x="5076" y="0"/>
            <a:ext cx="13705848" cy="171450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FD0FC9BC-91E2-75C3-E664-EC14302A9405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224998" y="13204417"/>
            <a:ext cx="11155978" cy="1343788"/>
          </a:xfrm>
          <a:prstGeom prst="rect">
            <a:avLst/>
          </a:prstGeom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2D41844-7C17-160A-3AD3-A77167DFCCFA}"/>
              </a:ext>
            </a:extLst>
          </p:cNvPr>
          <p:cNvSpPr/>
          <p:nvPr userDrawn="1"/>
        </p:nvSpPr>
        <p:spPr>
          <a:xfrm>
            <a:off x="1476375" y="14452992"/>
            <a:ext cx="4765675" cy="596508"/>
          </a:xfrm>
          <a:prstGeom prst="roundRect">
            <a:avLst>
              <a:gd name="adj" fmla="val 24354"/>
            </a:avLst>
          </a:prstGeom>
          <a:solidFill>
            <a:srgbClr val="49519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DM Sans" pitchFamily="2" charset="0"/>
              </a:rPr>
              <a:t>tinyurl.com/4u73yeck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13ACEDF2-7D82-ED2C-BDBB-C5D1737ACFC8}"/>
              </a:ext>
            </a:extLst>
          </p:cNvPr>
          <p:cNvSpPr/>
          <p:nvPr userDrawn="1"/>
        </p:nvSpPr>
        <p:spPr>
          <a:xfrm>
            <a:off x="7350919" y="14452992"/>
            <a:ext cx="4765675" cy="596508"/>
          </a:xfrm>
          <a:prstGeom prst="roundRect">
            <a:avLst>
              <a:gd name="adj" fmla="val 24354"/>
            </a:avLst>
          </a:prstGeom>
          <a:solidFill>
            <a:srgbClr val="49519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2400" dirty="0">
                <a:solidFill>
                  <a:schemeClr val="bg1"/>
                </a:solidFill>
                <a:latin typeface="DM Sans" pitchFamily="2" charset="0"/>
              </a:rPr>
              <a:t>tinyurl.com/29p5jear</a:t>
            </a:r>
          </a:p>
        </p:txBody>
      </p:sp>
    </p:spTree>
    <p:extLst>
      <p:ext uri="{BB962C8B-B14F-4D97-AF65-F5344CB8AC3E}">
        <p14:creationId xmlns:p14="http://schemas.microsoft.com/office/powerpoint/2010/main" val="1640376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oup of people running&#10;&#10;AI-generated content may be incorrect.">
            <a:extLst>
              <a:ext uri="{FF2B5EF4-FFF2-40B4-BE49-F238E27FC236}">
                <a16:creationId xmlns:a16="http://schemas.microsoft.com/office/drawing/2014/main" id="{97F3436B-9BAE-2EAA-BABA-FD0906454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9" y="0"/>
            <a:ext cx="13713461" cy="17145000"/>
          </a:xfrm>
          <a:prstGeom prst="rect">
            <a:avLst/>
          </a:prstGeom>
        </p:spPr>
      </p:pic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3D9E719-7D0C-0D5F-E1D7-398134F2FD54}"/>
              </a:ext>
            </a:extLst>
          </p:cNvPr>
          <p:cNvSpPr/>
          <p:nvPr userDrawn="1"/>
        </p:nvSpPr>
        <p:spPr>
          <a:xfrm>
            <a:off x="1296184" y="6096000"/>
            <a:ext cx="3885416" cy="3885416"/>
          </a:xfrm>
          <a:prstGeom prst="roundRect">
            <a:avLst>
              <a:gd name="adj" fmla="val 15412"/>
            </a:avLst>
          </a:prstGeom>
          <a:solidFill>
            <a:srgbClr val="35318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50677E9C-7467-693B-11C6-5CB8B5DAE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88440" y="6288255"/>
            <a:ext cx="3500904" cy="3500904"/>
          </a:xfrm>
          <a:custGeom>
            <a:avLst/>
            <a:gdLst>
              <a:gd name="connsiteX0" fmla="*/ 387165 w 3500904"/>
              <a:gd name="connsiteY0" fmla="*/ 0 h 3500904"/>
              <a:gd name="connsiteX1" fmla="*/ 3113739 w 3500904"/>
              <a:gd name="connsiteY1" fmla="*/ 0 h 3500904"/>
              <a:gd name="connsiteX2" fmla="*/ 3500904 w 3500904"/>
              <a:gd name="connsiteY2" fmla="*/ 387165 h 3500904"/>
              <a:gd name="connsiteX3" fmla="*/ 3500904 w 3500904"/>
              <a:gd name="connsiteY3" fmla="*/ 3113739 h 3500904"/>
              <a:gd name="connsiteX4" fmla="*/ 3113739 w 3500904"/>
              <a:gd name="connsiteY4" fmla="*/ 3500904 h 3500904"/>
              <a:gd name="connsiteX5" fmla="*/ 387165 w 3500904"/>
              <a:gd name="connsiteY5" fmla="*/ 3500904 h 3500904"/>
              <a:gd name="connsiteX6" fmla="*/ 0 w 3500904"/>
              <a:gd name="connsiteY6" fmla="*/ 3113739 h 3500904"/>
              <a:gd name="connsiteX7" fmla="*/ 0 w 3500904"/>
              <a:gd name="connsiteY7" fmla="*/ 387165 h 3500904"/>
              <a:gd name="connsiteX8" fmla="*/ 387165 w 3500904"/>
              <a:gd name="connsiteY8" fmla="*/ 0 h 3500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00904" h="3500904">
                <a:moveTo>
                  <a:pt x="387165" y="0"/>
                </a:moveTo>
                <a:lnTo>
                  <a:pt x="3113739" y="0"/>
                </a:lnTo>
                <a:cubicBezTo>
                  <a:pt x="3327564" y="0"/>
                  <a:pt x="3500904" y="173340"/>
                  <a:pt x="3500904" y="387165"/>
                </a:cubicBezTo>
                <a:lnTo>
                  <a:pt x="3500904" y="3113739"/>
                </a:lnTo>
                <a:cubicBezTo>
                  <a:pt x="3500904" y="3327564"/>
                  <a:pt x="3327564" y="3500904"/>
                  <a:pt x="3113739" y="3500904"/>
                </a:cubicBezTo>
                <a:lnTo>
                  <a:pt x="387165" y="3500904"/>
                </a:lnTo>
                <a:cubicBezTo>
                  <a:pt x="173340" y="3500904"/>
                  <a:pt x="0" y="3327564"/>
                  <a:pt x="0" y="3113739"/>
                </a:cubicBezTo>
                <a:lnTo>
                  <a:pt x="0" y="387165"/>
                </a:lnTo>
                <a:cubicBezTo>
                  <a:pt x="0" y="173340"/>
                  <a:pt x="173340" y="0"/>
                  <a:pt x="387165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800">
                <a:solidFill>
                  <a:schemeClr val="bg1"/>
                </a:solidFill>
                <a:latin typeface="DM Sans" pitchFamily="2" charset="0"/>
                <a:cs typeface="Poppins" panose="00000500000000000000" pitchFamily="2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7050629-E6B1-4434-AB99-2BA380A891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2600" y="8077200"/>
            <a:ext cx="6911340" cy="646331"/>
          </a:xfrm>
          <a:prstGeom prst="rect">
            <a:avLst/>
          </a:prstGeom>
        </p:spPr>
        <p:txBody>
          <a:bodyPr/>
          <a:lstStyle>
            <a:lvl1pPr>
              <a:defRPr b="1">
                <a:latin typeface="DM Sans" pitchFamily="2" charset="0"/>
                <a:cs typeface="Poppins" panose="00000500000000000000" pitchFamily="2" charset="0"/>
              </a:defRPr>
            </a:lvl1pPr>
          </a:lstStyle>
          <a:p>
            <a:pPr lvl="0"/>
            <a:r>
              <a:rPr lang="en-US" dirty="0"/>
              <a:t>Your name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0820E238-68C2-6E15-3DA4-AC597EB6A0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2600" y="8885576"/>
            <a:ext cx="6911340" cy="400110"/>
          </a:xfrm>
          <a:prstGeom prst="rect">
            <a:avLst/>
          </a:prstGeom>
        </p:spPr>
        <p:txBody>
          <a:bodyPr/>
          <a:lstStyle>
            <a:lvl1pPr>
              <a:defRPr sz="2600" b="0">
                <a:latin typeface="DM Sans" pitchFamily="2" charset="0"/>
                <a:cs typeface="Poppins" panose="00000500000000000000" pitchFamily="2" charset="0"/>
              </a:defRPr>
            </a:lvl1pPr>
          </a:lstStyle>
          <a:p>
            <a:pPr lvl="0"/>
            <a:r>
              <a:rPr lang="en-US" dirty="0"/>
              <a:t>Your title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81E102DC-32FE-122E-B324-E956BAEEC6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2600" y="9383287"/>
            <a:ext cx="6911340" cy="400110"/>
          </a:xfrm>
          <a:prstGeom prst="rect">
            <a:avLst/>
          </a:prstGeom>
        </p:spPr>
        <p:txBody>
          <a:bodyPr/>
          <a:lstStyle>
            <a:lvl1pPr>
              <a:defRPr sz="2600" b="0">
                <a:latin typeface="DM Sans" pitchFamily="2" charset="0"/>
                <a:cs typeface="Poppins" panose="00000500000000000000" pitchFamily="2" charset="0"/>
              </a:defRPr>
            </a:lvl1pPr>
          </a:lstStyle>
          <a:p>
            <a:pPr lvl="0"/>
            <a:r>
              <a:rPr lang="en-US" dirty="0"/>
              <a:t>Your country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2ADA51E-29BF-3DA4-66BE-1FEDC15A20F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28998" y="9850839"/>
            <a:ext cx="3019786" cy="93499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870F8CE-F30B-5A64-566A-2DEFF645FC7B}"/>
              </a:ext>
            </a:extLst>
          </p:cNvPr>
          <p:cNvSpPr/>
          <p:nvPr userDrawn="1"/>
        </p:nvSpPr>
        <p:spPr>
          <a:xfrm>
            <a:off x="2667887" y="9937391"/>
            <a:ext cx="1444626" cy="3231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l"/>
            <a:r>
              <a:rPr lang="en-US" sz="1500" dirty="0">
                <a:latin typeface="Poppins" panose="00000500000000000000" pitchFamily="2" charset="0"/>
                <a:cs typeface="Poppins" panose="00000500000000000000" pitchFamily="2" charset="0"/>
              </a:rPr>
              <a:t>I’ve achieved</a:t>
            </a:r>
          </a:p>
        </p:txBody>
      </p:sp>
      <p:sp>
        <p:nvSpPr>
          <p:cNvPr id="12" name="Text Placeholder 25">
            <a:extLst>
              <a:ext uri="{FF2B5EF4-FFF2-40B4-BE49-F238E27FC236}">
                <a16:creationId xmlns:a16="http://schemas.microsoft.com/office/drawing/2014/main" id="{FA8C8BEC-3C81-E0BC-AA1C-94DE03A7C7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6787" y="10136267"/>
            <a:ext cx="1596591" cy="615553"/>
          </a:xfrm>
          <a:prstGeom prst="rect">
            <a:avLst/>
          </a:prstGeom>
        </p:spPr>
        <p:txBody>
          <a:bodyPr wrap="none"/>
          <a:lstStyle>
            <a:lvl1pPr>
              <a:defRPr sz="4000" b="1">
                <a:solidFill>
                  <a:schemeClr val="bg1"/>
                </a:solidFill>
                <a:latin typeface="DM Sans" pitchFamily="2" charset="0"/>
                <a:cs typeface="Poppins" panose="00000500000000000000" pitchFamily="2" charset="0"/>
              </a:defRPr>
            </a:lvl1pPr>
          </a:lstStyle>
          <a:p>
            <a:pPr lvl="0"/>
            <a:r>
              <a:rPr lang="en-US" dirty="0"/>
              <a:t>XX KM</a:t>
            </a:r>
          </a:p>
        </p:txBody>
      </p:sp>
      <p:sp>
        <p:nvSpPr>
          <p:cNvPr id="14" name="Text Placeholder 25">
            <a:extLst>
              <a:ext uri="{FF2B5EF4-FFF2-40B4-BE49-F238E27FC236}">
                <a16:creationId xmlns:a16="http://schemas.microsoft.com/office/drawing/2014/main" id="{EC39B80C-82FB-B6A5-2599-A966D434DA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12984" y="11087100"/>
            <a:ext cx="11488616" cy="646331"/>
          </a:xfrm>
          <a:prstGeom prst="rect">
            <a:avLst/>
          </a:prstGeom>
        </p:spPr>
        <p:txBody>
          <a:bodyPr/>
          <a:lstStyle>
            <a:lvl1pPr>
              <a:defRPr b="1">
                <a:latin typeface="DM Sans" pitchFamily="2" charset="0"/>
                <a:cs typeface="Poppins" panose="00000500000000000000" pitchFamily="2" charset="0"/>
              </a:defRPr>
            </a:lvl1pPr>
          </a:lstStyle>
          <a:p>
            <a:pPr lvl="0"/>
            <a:r>
              <a:rPr lang="en-US" dirty="0"/>
              <a:t>Your headline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B516EC9E-E01F-8BEF-0CBA-F8605B5A656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12984" y="11837376"/>
            <a:ext cx="11488616" cy="100232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0">
                <a:latin typeface="DM Sans" pitchFamily="2" charset="0"/>
                <a:cs typeface="Poppins" panose="00000500000000000000" pitchFamily="2" charset="0"/>
              </a:defRPr>
            </a:lvl1pPr>
          </a:lstStyle>
          <a:p>
            <a:pPr lvl="0"/>
            <a:r>
              <a:rPr lang="en-US" dirty="0"/>
              <a:t>Your place for personal reflections or messages of suppor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886D457-2401-F506-AA6E-6AFD7DF63F4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24998" y="13204417"/>
            <a:ext cx="11155978" cy="1343788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5BF11E3-67FA-B93B-941E-3D198D64D1AE}"/>
              </a:ext>
            </a:extLst>
          </p:cNvPr>
          <p:cNvSpPr/>
          <p:nvPr userDrawn="1"/>
        </p:nvSpPr>
        <p:spPr>
          <a:xfrm>
            <a:off x="1476375" y="14452992"/>
            <a:ext cx="4765675" cy="596508"/>
          </a:xfrm>
          <a:prstGeom prst="roundRect">
            <a:avLst>
              <a:gd name="adj" fmla="val 24354"/>
            </a:avLst>
          </a:prstGeom>
          <a:solidFill>
            <a:srgbClr val="49519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DM Sans" pitchFamily="2" charset="0"/>
              </a:rPr>
              <a:t>tinyurl.com/4u73yeck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8EC20E4-A04F-0ECF-6703-9B50A3D5E3D7}"/>
              </a:ext>
            </a:extLst>
          </p:cNvPr>
          <p:cNvSpPr/>
          <p:nvPr userDrawn="1"/>
        </p:nvSpPr>
        <p:spPr>
          <a:xfrm>
            <a:off x="7350919" y="14452992"/>
            <a:ext cx="4765675" cy="596508"/>
          </a:xfrm>
          <a:prstGeom prst="roundRect">
            <a:avLst>
              <a:gd name="adj" fmla="val 24354"/>
            </a:avLst>
          </a:prstGeom>
          <a:solidFill>
            <a:srgbClr val="49519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2400" dirty="0">
                <a:solidFill>
                  <a:schemeClr val="bg1"/>
                </a:solidFill>
                <a:latin typeface="DM Sans" pitchFamily="2" charset="0"/>
              </a:rPr>
              <a:t>tinyurl.com/29p5jear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0625463-D5AC-6779-40B8-1490BDADAD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415539" y="15474188"/>
            <a:ext cx="8884922" cy="82385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C3779992-9CB5-BF55-8511-6D34DF02D3E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95401" y="3262645"/>
            <a:ext cx="11125204" cy="258696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3F8AB5D9-1188-6717-E95A-EEF40A174D0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257800" y="856455"/>
            <a:ext cx="4648200" cy="2450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8152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 userDrawn="1"/>
        </p:nvSpPr>
        <p:spPr>
          <a:xfrm>
            <a:off x="0" y="0"/>
            <a:ext cx="8130540" cy="17145000"/>
          </a:xfrm>
          <a:custGeom>
            <a:avLst/>
            <a:gdLst/>
            <a:ahLst/>
            <a:cxnLst/>
            <a:rect l="l" t="t" r="r" b="b"/>
            <a:pathLst>
              <a:path w="8130540" h="17145000">
                <a:moveTo>
                  <a:pt x="1872272" y="17145000"/>
                </a:moveTo>
                <a:lnTo>
                  <a:pt x="1545564" y="16534600"/>
                </a:lnTo>
                <a:lnTo>
                  <a:pt x="1249972" y="15976930"/>
                </a:lnTo>
                <a:lnTo>
                  <a:pt x="993432" y="15487993"/>
                </a:lnTo>
                <a:lnTo>
                  <a:pt x="775271" y="15068080"/>
                </a:lnTo>
                <a:lnTo>
                  <a:pt x="594829" y="14717548"/>
                </a:lnTo>
                <a:lnTo>
                  <a:pt x="415696" y="14366393"/>
                </a:lnTo>
                <a:lnTo>
                  <a:pt x="273405" y="14085011"/>
                </a:lnTo>
                <a:lnTo>
                  <a:pt x="132054" y="13803198"/>
                </a:lnTo>
                <a:lnTo>
                  <a:pt x="0" y="13537705"/>
                </a:lnTo>
                <a:lnTo>
                  <a:pt x="0" y="16299726"/>
                </a:lnTo>
                <a:lnTo>
                  <a:pt x="140754" y="16522903"/>
                </a:lnTo>
                <a:lnTo>
                  <a:pt x="536346" y="17145000"/>
                </a:lnTo>
                <a:lnTo>
                  <a:pt x="1872272" y="17145000"/>
                </a:lnTo>
                <a:close/>
              </a:path>
              <a:path w="8130540" h="17145000">
                <a:moveTo>
                  <a:pt x="3967162" y="17145000"/>
                </a:moveTo>
                <a:lnTo>
                  <a:pt x="3777348" y="16733342"/>
                </a:lnTo>
                <a:lnTo>
                  <a:pt x="3616172" y="16380790"/>
                </a:lnTo>
                <a:lnTo>
                  <a:pt x="3488067" y="16098393"/>
                </a:lnTo>
                <a:lnTo>
                  <a:pt x="3360750" y="15815653"/>
                </a:lnTo>
                <a:lnTo>
                  <a:pt x="3234283" y="15532570"/>
                </a:lnTo>
                <a:lnTo>
                  <a:pt x="3108706" y="15249106"/>
                </a:lnTo>
                <a:lnTo>
                  <a:pt x="3015132" y="15036241"/>
                </a:lnTo>
                <a:lnTo>
                  <a:pt x="2922092" y="14823161"/>
                </a:lnTo>
                <a:lnTo>
                  <a:pt x="2829636" y="14609826"/>
                </a:lnTo>
                <a:lnTo>
                  <a:pt x="2737751" y="14396263"/>
                </a:lnTo>
                <a:lnTo>
                  <a:pt x="2646476" y="14182420"/>
                </a:lnTo>
                <a:lnTo>
                  <a:pt x="2555837" y="13968324"/>
                </a:lnTo>
                <a:lnTo>
                  <a:pt x="2495753" y="13825449"/>
                </a:lnTo>
                <a:lnTo>
                  <a:pt x="2435974" y="13682447"/>
                </a:lnTo>
                <a:lnTo>
                  <a:pt x="2376487" y="13539305"/>
                </a:lnTo>
                <a:lnTo>
                  <a:pt x="2261819" y="13260769"/>
                </a:lnTo>
                <a:lnTo>
                  <a:pt x="2175027" y="13048450"/>
                </a:lnTo>
                <a:lnTo>
                  <a:pt x="2087676" y="12833312"/>
                </a:lnTo>
                <a:lnTo>
                  <a:pt x="1999869" y="12615443"/>
                </a:lnTo>
                <a:lnTo>
                  <a:pt x="1941131" y="12468720"/>
                </a:lnTo>
                <a:lnTo>
                  <a:pt x="1882267" y="12320842"/>
                </a:lnTo>
                <a:lnTo>
                  <a:pt x="1823300" y="12171832"/>
                </a:lnTo>
                <a:lnTo>
                  <a:pt x="1764284" y="12021731"/>
                </a:lnTo>
                <a:lnTo>
                  <a:pt x="1705216" y="11870550"/>
                </a:lnTo>
                <a:lnTo>
                  <a:pt x="1646148" y="11718328"/>
                </a:lnTo>
                <a:lnTo>
                  <a:pt x="1587106" y="11565077"/>
                </a:lnTo>
                <a:lnTo>
                  <a:pt x="1528114" y="11410823"/>
                </a:lnTo>
                <a:lnTo>
                  <a:pt x="1498650" y="11333328"/>
                </a:lnTo>
                <a:lnTo>
                  <a:pt x="1469212" y="11255591"/>
                </a:lnTo>
                <a:lnTo>
                  <a:pt x="1439799" y="11177626"/>
                </a:lnTo>
                <a:lnTo>
                  <a:pt x="1410423" y="11099419"/>
                </a:lnTo>
                <a:lnTo>
                  <a:pt x="1381086" y="11020984"/>
                </a:lnTo>
                <a:lnTo>
                  <a:pt x="1351788" y="10942320"/>
                </a:lnTo>
                <a:lnTo>
                  <a:pt x="1322539" y="10863440"/>
                </a:lnTo>
                <a:lnTo>
                  <a:pt x="1293329" y="10784332"/>
                </a:lnTo>
                <a:lnTo>
                  <a:pt x="1264183" y="10705008"/>
                </a:lnTo>
                <a:lnTo>
                  <a:pt x="1235075" y="10625468"/>
                </a:lnTo>
                <a:lnTo>
                  <a:pt x="1206042" y="10545724"/>
                </a:lnTo>
                <a:lnTo>
                  <a:pt x="1177061" y="10465765"/>
                </a:lnTo>
                <a:lnTo>
                  <a:pt x="1148156" y="10385603"/>
                </a:lnTo>
                <a:lnTo>
                  <a:pt x="1119314" y="10305237"/>
                </a:lnTo>
                <a:lnTo>
                  <a:pt x="1090561" y="10224668"/>
                </a:lnTo>
                <a:lnTo>
                  <a:pt x="1061872" y="10143909"/>
                </a:lnTo>
                <a:lnTo>
                  <a:pt x="1033272" y="10062959"/>
                </a:lnTo>
                <a:lnTo>
                  <a:pt x="1004760" y="9981819"/>
                </a:lnTo>
                <a:lnTo>
                  <a:pt x="976337" y="9900488"/>
                </a:lnTo>
                <a:lnTo>
                  <a:pt x="948004" y="9818980"/>
                </a:lnTo>
                <a:lnTo>
                  <a:pt x="919772" y="9737293"/>
                </a:lnTo>
                <a:lnTo>
                  <a:pt x="891641" y="9655429"/>
                </a:lnTo>
                <a:lnTo>
                  <a:pt x="863612" y="9573387"/>
                </a:lnTo>
                <a:lnTo>
                  <a:pt x="835698" y="9491180"/>
                </a:lnTo>
                <a:lnTo>
                  <a:pt x="807885" y="9408808"/>
                </a:lnTo>
                <a:lnTo>
                  <a:pt x="780199" y="9326270"/>
                </a:lnTo>
                <a:lnTo>
                  <a:pt x="752627" y="9243581"/>
                </a:lnTo>
                <a:lnTo>
                  <a:pt x="725182" y="9160726"/>
                </a:lnTo>
                <a:lnTo>
                  <a:pt x="697877" y="9077706"/>
                </a:lnTo>
                <a:lnTo>
                  <a:pt x="670687" y="8994546"/>
                </a:lnTo>
                <a:lnTo>
                  <a:pt x="643636" y="8911247"/>
                </a:lnTo>
                <a:lnTo>
                  <a:pt x="616737" y="8827795"/>
                </a:lnTo>
                <a:lnTo>
                  <a:pt x="589965" y="8744204"/>
                </a:lnTo>
                <a:lnTo>
                  <a:pt x="563346" y="8660473"/>
                </a:lnTo>
                <a:lnTo>
                  <a:pt x="536879" y="8576602"/>
                </a:lnTo>
                <a:lnTo>
                  <a:pt x="510565" y="8492604"/>
                </a:lnTo>
                <a:lnTo>
                  <a:pt x="484416" y="8408479"/>
                </a:lnTo>
                <a:lnTo>
                  <a:pt x="458419" y="8324228"/>
                </a:lnTo>
                <a:lnTo>
                  <a:pt x="432600" y="8239861"/>
                </a:lnTo>
                <a:lnTo>
                  <a:pt x="406946" y="8155368"/>
                </a:lnTo>
                <a:lnTo>
                  <a:pt x="381457" y="8070761"/>
                </a:lnTo>
                <a:lnTo>
                  <a:pt x="356158" y="7986039"/>
                </a:lnTo>
                <a:lnTo>
                  <a:pt x="331038" y="7901216"/>
                </a:lnTo>
                <a:lnTo>
                  <a:pt x="306095" y="7816278"/>
                </a:lnTo>
                <a:lnTo>
                  <a:pt x="281343" y="7731239"/>
                </a:lnTo>
                <a:lnTo>
                  <a:pt x="256794" y="7646111"/>
                </a:lnTo>
                <a:lnTo>
                  <a:pt x="232435" y="7560869"/>
                </a:lnTo>
                <a:lnTo>
                  <a:pt x="208267" y="7475550"/>
                </a:lnTo>
                <a:lnTo>
                  <a:pt x="184315" y="7390130"/>
                </a:lnTo>
                <a:lnTo>
                  <a:pt x="160566" y="7304633"/>
                </a:lnTo>
                <a:lnTo>
                  <a:pt x="137033" y="7219048"/>
                </a:lnTo>
                <a:lnTo>
                  <a:pt x="113715" y="7133374"/>
                </a:lnTo>
                <a:lnTo>
                  <a:pt x="90614" y="7047636"/>
                </a:lnTo>
                <a:lnTo>
                  <a:pt x="67729" y="6961810"/>
                </a:lnTo>
                <a:lnTo>
                  <a:pt x="45085" y="6875920"/>
                </a:lnTo>
                <a:lnTo>
                  <a:pt x="22656" y="6789966"/>
                </a:lnTo>
                <a:lnTo>
                  <a:pt x="0" y="6702057"/>
                </a:lnTo>
                <a:lnTo>
                  <a:pt x="0" y="11985600"/>
                </a:lnTo>
                <a:lnTo>
                  <a:pt x="77393" y="12149138"/>
                </a:lnTo>
                <a:lnTo>
                  <a:pt x="145923" y="12292889"/>
                </a:lnTo>
                <a:lnTo>
                  <a:pt x="214871" y="12436539"/>
                </a:lnTo>
                <a:lnTo>
                  <a:pt x="284200" y="12580099"/>
                </a:lnTo>
                <a:lnTo>
                  <a:pt x="353936" y="12723571"/>
                </a:lnTo>
                <a:lnTo>
                  <a:pt x="424040" y="12866954"/>
                </a:lnTo>
                <a:lnTo>
                  <a:pt x="494525" y="13010223"/>
                </a:lnTo>
                <a:lnTo>
                  <a:pt x="565365" y="13153390"/>
                </a:lnTo>
                <a:lnTo>
                  <a:pt x="636549" y="13296443"/>
                </a:lnTo>
                <a:lnTo>
                  <a:pt x="708075" y="13439381"/>
                </a:lnTo>
                <a:lnTo>
                  <a:pt x="779945" y="13582206"/>
                </a:lnTo>
                <a:lnTo>
                  <a:pt x="852131" y="13724916"/>
                </a:lnTo>
                <a:lnTo>
                  <a:pt x="924636" y="13867486"/>
                </a:lnTo>
                <a:lnTo>
                  <a:pt x="1070533" y="14152232"/>
                </a:lnTo>
                <a:lnTo>
                  <a:pt x="1217587" y="14436433"/>
                </a:lnTo>
                <a:lnTo>
                  <a:pt x="1365694" y="14720037"/>
                </a:lnTo>
                <a:lnTo>
                  <a:pt x="1514805" y="15003006"/>
                </a:lnTo>
                <a:lnTo>
                  <a:pt x="1664830" y="15285327"/>
                </a:lnTo>
                <a:lnTo>
                  <a:pt x="1815693" y="15566949"/>
                </a:lnTo>
                <a:lnTo>
                  <a:pt x="1967331" y="15847848"/>
                </a:lnTo>
                <a:lnTo>
                  <a:pt x="2196058" y="16267773"/>
                </a:lnTo>
                <a:lnTo>
                  <a:pt x="2426093" y="16685870"/>
                </a:lnTo>
                <a:lnTo>
                  <a:pt x="2681198" y="17145000"/>
                </a:lnTo>
                <a:lnTo>
                  <a:pt x="3967162" y="17145000"/>
                </a:lnTo>
                <a:close/>
              </a:path>
              <a:path w="8130540" h="17145000">
                <a:moveTo>
                  <a:pt x="6053747" y="17145000"/>
                </a:moveTo>
                <a:lnTo>
                  <a:pt x="5962828" y="16891000"/>
                </a:lnTo>
                <a:lnTo>
                  <a:pt x="5917336" y="16891000"/>
                </a:lnTo>
                <a:lnTo>
                  <a:pt x="5462702" y="15621000"/>
                </a:lnTo>
                <a:lnTo>
                  <a:pt x="5282044" y="15113000"/>
                </a:lnTo>
                <a:lnTo>
                  <a:pt x="5147411" y="14732000"/>
                </a:lnTo>
                <a:lnTo>
                  <a:pt x="5058194" y="14478000"/>
                </a:lnTo>
                <a:lnTo>
                  <a:pt x="4969459" y="14224000"/>
                </a:lnTo>
                <a:lnTo>
                  <a:pt x="4881270" y="13970000"/>
                </a:lnTo>
                <a:lnTo>
                  <a:pt x="4837404" y="13843000"/>
                </a:lnTo>
                <a:lnTo>
                  <a:pt x="4793691" y="13716000"/>
                </a:lnTo>
                <a:lnTo>
                  <a:pt x="4750143" y="13589000"/>
                </a:lnTo>
                <a:lnTo>
                  <a:pt x="4706772" y="13462000"/>
                </a:lnTo>
                <a:lnTo>
                  <a:pt x="4663579" y="13335000"/>
                </a:lnTo>
                <a:lnTo>
                  <a:pt x="4620577" y="13208000"/>
                </a:lnTo>
                <a:lnTo>
                  <a:pt x="4577778" y="13081000"/>
                </a:lnTo>
                <a:lnTo>
                  <a:pt x="4535170" y="12954000"/>
                </a:lnTo>
                <a:lnTo>
                  <a:pt x="4492777" y="12827000"/>
                </a:lnTo>
                <a:lnTo>
                  <a:pt x="4450600" y="12700000"/>
                </a:lnTo>
                <a:lnTo>
                  <a:pt x="4408640" y="12573000"/>
                </a:lnTo>
                <a:lnTo>
                  <a:pt x="4366920" y="12446000"/>
                </a:lnTo>
                <a:lnTo>
                  <a:pt x="4325429" y="12319000"/>
                </a:lnTo>
                <a:lnTo>
                  <a:pt x="4284192" y="12192000"/>
                </a:lnTo>
                <a:lnTo>
                  <a:pt x="4243209" y="12065000"/>
                </a:lnTo>
                <a:lnTo>
                  <a:pt x="4202480" y="11938000"/>
                </a:lnTo>
                <a:lnTo>
                  <a:pt x="4162031" y="11811000"/>
                </a:lnTo>
                <a:lnTo>
                  <a:pt x="4121848" y="11684000"/>
                </a:lnTo>
                <a:lnTo>
                  <a:pt x="4081945" y="11557000"/>
                </a:lnTo>
                <a:lnTo>
                  <a:pt x="4042346" y="11430000"/>
                </a:lnTo>
                <a:lnTo>
                  <a:pt x="4003027" y="11303000"/>
                </a:lnTo>
                <a:lnTo>
                  <a:pt x="3964025" y="11176000"/>
                </a:lnTo>
                <a:lnTo>
                  <a:pt x="3925328" y="11049000"/>
                </a:lnTo>
                <a:lnTo>
                  <a:pt x="3886949" y="10922000"/>
                </a:lnTo>
                <a:lnTo>
                  <a:pt x="3848900" y="10795000"/>
                </a:lnTo>
                <a:lnTo>
                  <a:pt x="3811181" y="10668000"/>
                </a:lnTo>
                <a:lnTo>
                  <a:pt x="3773805" y="10414000"/>
                </a:lnTo>
                <a:lnTo>
                  <a:pt x="3736771" y="10287000"/>
                </a:lnTo>
                <a:lnTo>
                  <a:pt x="3700094" y="10160000"/>
                </a:lnTo>
                <a:lnTo>
                  <a:pt x="3663785" y="10033000"/>
                </a:lnTo>
                <a:lnTo>
                  <a:pt x="3627844" y="9906000"/>
                </a:lnTo>
                <a:lnTo>
                  <a:pt x="3592284" y="9779000"/>
                </a:lnTo>
                <a:lnTo>
                  <a:pt x="3557105" y="9652000"/>
                </a:lnTo>
                <a:lnTo>
                  <a:pt x="3522307" y="9525000"/>
                </a:lnTo>
                <a:lnTo>
                  <a:pt x="3487928" y="9398000"/>
                </a:lnTo>
                <a:lnTo>
                  <a:pt x="3453942" y="9271000"/>
                </a:lnTo>
                <a:lnTo>
                  <a:pt x="3420364" y="9144000"/>
                </a:lnTo>
                <a:lnTo>
                  <a:pt x="3387217" y="9017000"/>
                </a:lnTo>
                <a:lnTo>
                  <a:pt x="3354501" y="8890000"/>
                </a:lnTo>
                <a:lnTo>
                  <a:pt x="3322218" y="8763000"/>
                </a:lnTo>
                <a:lnTo>
                  <a:pt x="3290366" y="8636000"/>
                </a:lnTo>
                <a:lnTo>
                  <a:pt x="3258972" y="8509000"/>
                </a:lnTo>
                <a:lnTo>
                  <a:pt x="3228035" y="8382000"/>
                </a:lnTo>
                <a:lnTo>
                  <a:pt x="3197568" y="8255000"/>
                </a:lnTo>
                <a:lnTo>
                  <a:pt x="3167570" y="8128000"/>
                </a:lnTo>
                <a:lnTo>
                  <a:pt x="3138043" y="8001000"/>
                </a:lnTo>
                <a:lnTo>
                  <a:pt x="3109010" y="7874000"/>
                </a:lnTo>
                <a:lnTo>
                  <a:pt x="3080461" y="7747000"/>
                </a:lnTo>
                <a:lnTo>
                  <a:pt x="3052432" y="7620000"/>
                </a:lnTo>
                <a:lnTo>
                  <a:pt x="3024898" y="7493000"/>
                </a:lnTo>
                <a:lnTo>
                  <a:pt x="2997873" y="7366000"/>
                </a:lnTo>
                <a:lnTo>
                  <a:pt x="2971381" y="7239000"/>
                </a:lnTo>
                <a:lnTo>
                  <a:pt x="2945422" y="7112000"/>
                </a:lnTo>
                <a:lnTo>
                  <a:pt x="2919984" y="6985000"/>
                </a:lnTo>
                <a:lnTo>
                  <a:pt x="2895104" y="6858000"/>
                </a:lnTo>
                <a:lnTo>
                  <a:pt x="2870771" y="6731000"/>
                </a:lnTo>
                <a:lnTo>
                  <a:pt x="2846997" y="6604000"/>
                </a:lnTo>
                <a:lnTo>
                  <a:pt x="2823794" y="6350000"/>
                </a:lnTo>
                <a:lnTo>
                  <a:pt x="2801162" y="6223000"/>
                </a:lnTo>
                <a:lnTo>
                  <a:pt x="2779103" y="6096000"/>
                </a:lnTo>
                <a:lnTo>
                  <a:pt x="2757640" y="5969000"/>
                </a:lnTo>
                <a:lnTo>
                  <a:pt x="2736773" y="5842000"/>
                </a:lnTo>
                <a:lnTo>
                  <a:pt x="2716504" y="5715000"/>
                </a:lnTo>
                <a:lnTo>
                  <a:pt x="2696857" y="5588000"/>
                </a:lnTo>
                <a:lnTo>
                  <a:pt x="2677820" y="5461000"/>
                </a:lnTo>
                <a:lnTo>
                  <a:pt x="2659405" y="5334000"/>
                </a:lnTo>
                <a:lnTo>
                  <a:pt x="2641625" y="5207000"/>
                </a:lnTo>
                <a:lnTo>
                  <a:pt x="2624480" y="5080000"/>
                </a:lnTo>
                <a:lnTo>
                  <a:pt x="2607983" y="4953000"/>
                </a:lnTo>
                <a:lnTo>
                  <a:pt x="2592133" y="4826000"/>
                </a:lnTo>
                <a:lnTo>
                  <a:pt x="2576957" y="4699000"/>
                </a:lnTo>
                <a:lnTo>
                  <a:pt x="2562441" y="4572000"/>
                </a:lnTo>
                <a:lnTo>
                  <a:pt x="2548598" y="4445000"/>
                </a:lnTo>
                <a:lnTo>
                  <a:pt x="2535440" y="4318000"/>
                </a:lnTo>
                <a:lnTo>
                  <a:pt x="2522982" y="4191000"/>
                </a:lnTo>
                <a:lnTo>
                  <a:pt x="2511209" y="4064000"/>
                </a:lnTo>
                <a:lnTo>
                  <a:pt x="2500147" y="3937000"/>
                </a:lnTo>
                <a:lnTo>
                  <a:pt x="2489797" y="3810000"/>
                </a:lnTo>
                <a:lnTo>
                  <a:pt x="2480157" y="3683000"/>
                </a:lnTo>
                <a:lnTo>
                  <a:pt x="2471255" y="3556000"/>
                </a:lnTo>
                <a:lnTo>
                  <a:pt x="2463076" y="3429000"/>
                </a:lnTo>
                <a:lnTo>
                  <a:pt x="2455646" y="3302000"/>
                </a:lnTo>
                <a:lnTo>
                  <a:pt x="2448966" y="3175000"/>
                </a:lnTo>
                <a:lnTo>
                  <a:pt x="2443035" y="3048000"/>
                </a:lnTo>
                <a:lnTo>
                  <a:pt x="2437866" y="2921000"/>
                </a:lnTo>
                <a:lnTo>
                  <a:pt x="2433472" y="2794000"/>
                </a:lnTo>
                <a:lnTo>
                  <a:pt x="2429853" y="2667000"/>
                </a:lnTo>
                <a:lnTo>
                  <a:pt x="2427020" y="2540000"/>
                </a:lnTo>
                <a:lnTo>
                  <a:pt x="2424976" y="2413000"/>
                </a:lnTo>
                <a:lnTo>
                  <a:pt x="2423744" y="2413000"/>
                </a:lnTo>
                <a:lnTo>
                  <a:pt x="2423299" y="2286000"/>
                </a:lnTo>
                <a:lnTo>
                  <a:pt x="2423680" y="2159000"/>
                </a:lnTo>
                <a:lnTo>
                  <a:pt x="2424874" y="2032000"/>
                </a:lnTo>
                <a:lnTo>
                  <a:pt x="2426906" y="1905000"/>
                </a:lnTo>
                <a:lnTo>
                  <a:pt x="2429764" y="1778000"/>
                </a:lnTo>
                <a:lnTo>
                  <a:pt x="2433472" y="1651000"/>
                </a:lnTo>
                <a:lnTo>
                  <a:pt x="2438031" y="1524000"/>
                </a:lnTo>
                <a:lnTo>
                  <a:pt x="2443442" y="1397000"/>
                </a:lnTo>
                <a:lnTo>
                  <a:pt x="2449715" y="1270000"/>
                </a:lnTo>
                <a:lnTo>
                  <a:pt x="2456865" y="1143000"/>
                </a:lnTo>
                <a:lnTo>
                  <a:pt x="2464892" y="1016000"/>
                </a:lnTo>
                <a:lnTo>
                  <a:pt x="2473807" y="889000"/>
                </a:lnTo>
                <a:lnTo>
                  <a:pt x="2483624" y="762000"/>
                </a:lnTo>
                <a:lnTo>
                  <a:pt x="2494330" y="635000"/>
                </a:lnTo>
                <a:lnTo>
                  <a:pt x="2505951" y="508000"/>
                </a:lnTo>
                <a:lnTo>
                  <a:pt x="2518486" y="381000"/>
                </a:lnTo>
                <a:lnTo>
                  <a:pt x="2531935" y="254000"/>
                </a:lnTo>
                <a:lnTo>
                  <a:pt x="2546324" y="254000"/>
                </a:lnTo>
                <a:lnTo>
                  <a:pt x="2561653" y="127000"/>
                </a:lnTo>
                <a:lnTo>
                  <a:pt x="2564346" y="0"/>
                </a:lnTo>
                <a:lnTo>
                  <a:pt x="0" y="0"/>
                </a:lnTo>
                <a:lnTo>
                  <a:pt x="0" y="1778000"/>
                </a:lnTo>
                <a:lnTo>
                  <a:pt x="2616" y="1905000"/>
                </a:lnTo>
                <a:lnTo>
                  <a:pt x="10147" y="1905000"/>
                </a:lnTo>
                <a:lnTo>
                  <a:pt x="18173" y="2032000"/>
                </a:lnTo>
                <a:lnTo>
                  <a:pt x="26720" y="2159000"/>
                </a:lnTo>
                <a:lnTo>
                  <a:pt x="35763" y="2286000"/>
                </a:lnTo>
                <a:lnTo>
                  <a:pt x="45313" y="2413000"/>
                </a:lnTo>
                <a:lnTo>
                  <a:pt x="55359" y="2540000"/>
                </a:lnTo>
                <a:lnTo>
                  <a:pt x="65887" y="2667000"/>
                </a:lnTo>
                <a:lnTo>
                  <a:pt x="76923" y="2667000"/>
                </a:lnTo>
                <a:lnTo>
                  <a:pt x="88442" y="2794000"/>
                </a:lnTo>
                <a:lnTo>
                  <a:pt x="100457" y="2921000"/>
                </a:lnTo>
                <a:lnTo>
                  <a:pt x="112941" y="3048000"/>
                </a:lnTo>
                <a:lnTo>
                  <a:pt x="125907" y="3175000"/>
                </a:lnTo>
                <a:lnTo>
                  <a:pt x="139344" y="3302000"/>
                </a:lnTo>
                <a:lnTo>
                  <a:pt x="153263" y="3302000"/>
                </a:lnTo>
                <a:lnTo>
                  <a:pt x="167640" y="3429000"/>
                </a:lnTo>
                <a:lnTo>
                  <a:pt x="182486" y="3556000"/>
                </a:lnTo>
                <a:lnTo>
                  <a:pt x="197802" y="3683000"/>
                </a:lnTo>
                <a:lnTo>
                  <a:pt x="213575" y="3810000"/>
                </a:lnTo>
                <a:lnTo>
                  <a:pt x="229793" y="3937000"/>
                </a:lnTo>
                <a:lnTo>
                  <a:pt x="246481" y="4064000"/>
                </a:lnTo>
                <a:lnTo>
                  <a:pt x="263601" y="4064000"/>
                </a:lnTo>
                <a:lnTo>
                  <a:pt x="281178" y="4191000"/>
                </a:lnTo>
                <a:lnTo>
                  <a:pt x="299199" y="4318000"/>
                </a:lnTo>
                <a:lnTo>
                  <a:pt x="317652" y="4445000"/>
                </a:lnTo>
                <a:lnTo>
                  <a:pt x="336550" y="4572000"/>
                </a:lnTo>
                <a:lnTo>
                  <a:pt x="355866" y="4699000"/>
                </a:lnTo>
                <a:lnTo>
                  <a:pt x="375627" y="4826000"/>
                </a:lnTo>
                <a:lnTo>
                  <a:pt x="395808" y="4826000"/>
                </a:lnTo>
                <a:lnTo>
                  <a:pt x="416420" y="4953000"/>
                </a:lnTo>
                <a:lnTo>
                  <a:pt x="437438" y="5080000"/>
                </a:lnTo>
                <a:lnTo>
                  <a:pt x="458889" y="5207000"/>
                </a:lnTo>
                <a:lnTo>
                  <a:pt x="480745" y="5334000"/>
                </a:lnTo>
                <a:lnTo>
                  <a:pt x="503008" y="5461000"/>
                </a:lnTo>
                <a:lnTo>
                  <a:pt x="525691" y="5461000"/>
                </a:lnTo>
                <a:lnTo>
                  <a:pt x="548767" y="5588000"/>
                </a:lnTo>
                <a:lnTo>
                  <a:pt x="572249" y="5715000"/>
                </a:lnTo>
                <a:lnTo>
                  <a:pt x="596125" y="5842000"/>
                </a:lnTo>
                <a:lnTo>
                  <a:pt x="620395" y="5969000"/>
                </a:lnTo>
                <a:lnTo>
                  <a:pt x="645058" y="6096000"/>
                </a:lnTo>
                <a:lnTo>
                  <a:pt x="670102" y="6223000"/>
                </a:lnTo>
                <a:lnTo>
                  <a:pt x="695540" y="6223000"/>
                </a:lnTo>
                <a:lnTo>
                  <a:pt x="721360" y="6350000"/>
                </a:lnTo>
                <a:lnTo>
                  <a:pt x="747547" y="6477000"/>
                </a:lnTo>
                <a:lnTo>
                  <a:pt x="774115" y="6604000"/>
                </a:lnTo>
                <a:lnTo>
                  <a:pt x="801052" y="6731000"/>
                </a:lnTo>
                <a:lnTo>
                  <a:pt x="828370" y="6858000"/>
                </a:lnTo>
                <a:lnTo>
                  <a:pt x="856030" y="6858000"/>
                </a:lnTo>
                <a:lnTo>
                  <a:pt x="884072" y="6985000"/>
                </a:lnTo>
                <a:lnTo>
                  <a:pt x="912469" y="7112000"/>
                </a:lnTo>
                <a:lnTo>
                  <a:pt x="941209" y="7239000"/>
                </a:lnTo>
                <a:lnTo>
                  <a:pt x="970305" y="7366000"/>
                </a:lnTo>
                <a:lnTo>
                  <a:pt x="999756" y="7493000"/>
                </a:lnTo>
                <a:lnTo>
                  <a:pt x="1029550" y="7493000"/>
                </a:lnTo>
                <a:lnTo>
                  <a:pt x="1059688" y="7620000"/>
                </a:lnTo>
                <a:lnTo>
                  <a:pt x="1090168" y="7747000"/>
                </a:lnTo>
                <a:lnTo>
                  <a:pt x="1120978" y="7874000"/>
                </a:lnTo>
                <a:lnTo>
                  <a:pt x="1152118" y="8001000"/>
                </a:lnTo>
                <a:lnTo>
                  <a:pt x="1183589" y="8128000"/>
                </a:lnTo>
                <a:lnTo>
                  <a:pt x="1215390" y="8255000"/>
                </a:lnTo>
                <a:lnTo>
                  <a:pt x="1247508" y="8255000"/>
                </a:lnTo>
                <a:lnTo>
                  <a:pt x="1279956" y="8382000"/>
                </a:lnTo>
                <a:lnTo>
                  <a:pt x="1312710" y="8509000"/>
                </a:lnTo>
                <a:lnTo>
                  <a:pt x="1345780" y="8636000"/>
                </a:lnTo>
                <a:lnTo>
                  <a:pt x="1379156" y="8763000"/>
                </a:lnTo>
                <a:lnTo>
                  <a:pt x="1412836" y="8890000"/>
                </a:lnTo>
                <a:lnTo>
                  <a:pt x="1446834" y="8890000"/>
                </a:lnTo>
                <a:lnTo>
                  <a:pt x="1481124" y="9017000"/>
                </a:lnTo>
                <a:lnTo>
                  <a:pt x="1515706" y="9144000"/>
                </a:lnTo>
                <a:lnTo>
                  <a:pt x="1550581" y="9271000"/>
                </a:lnTo>
                <a:lnTo>
                  <a:pt x="1585760" y="9398000"/>
                </a:lnTo>
                <a:lnTo>
                  <a:pt x="1621205" y="9525000"/>
                </a:lnTo>
                <a:lnTo>
                  <a:pt x="1656956" y="9525000"/>
                </a:lnTo>
                <a:lnTo>
                  <a:pt x="1692973" y="9652000"/>
                </a:lnTo>
                <a:lnTo>
                  <a:pt x="1729270" y="9779000"/>
                </a:lnTo>
                <a:lnTo>
                  <a:pt x="1765846" y="9906000"/>
                </a:lnTo>
                <a:lnTo>
                  <a:pt x="1802676" y="10033000"/>
                </a:lnTo>
                <a:lnTo>
                  <a:pt x="1839798" y="10160000"/>
                </a:lnTo>
                <a:lnTo>
                  <a:pt x="1877161" y="10160000"/>
                </a:lnTo>
                <a:lnTo>
                  <a:pt x="1914804" y="10287000"/>
                </a:lnTo>
                <a:lnTo>
                  <a:pt x="1952688" y="10414000"/>
                </a:lnTo>
                <a:lnTo>
                  <a:pt x="1990839" y="10541000"/>
                </a:lnTo>
                <a:lnTo>
                  <a:pt x="2029244" y="10668000"/>
                </a:lnTo>
                <a:lnTo>
                  <a:pt x="2067890" y="10795000"/>
                </a:lnTo>
                <a:lnTo>
                  <a:pt x="2106777" y="10795000"/>
                </a:lnTo>
                <a:lnTo>
                  <a:pt x="2145906" y="10922000"/>
                </a:lnTo>
                <a:lnTo>
                  <a:pt x="2185276" y="11049000"/>
                </a:lnTo>
                <a:lnTo>
                  <a:pt x="2224887" y="11176000"/>
                </a:lnTo>
                <a:lnTo>
                  <a:pt x="2264714" y="11303000"/>
                </a:lnTo>
                <a:lnTo>
                  <a:pt x="2304783" y="11430000"/>
                </a:lnTo>
                <a:lnTo>
                  <a:pt x="2345080" y="11430000"/>
                </a:lnTo>
                <a:lnTo>
                  <a:pt x="2385593" y="11557000"/>
                </a:lnTo>
                <a:lnTo>
                  <a:pt x="2426322" y="11684000"/>
                </a:lnTo>
                <a:lnTo>
                  <a:pt x="2467267" y="11811000"/>
                </a:lnTo>
                <a:lnTo>
                  <a:pt x="2508427" y="11938000"/>
                </a:lnTo>
                <a:lnTo>
                  <a:pt x="2549791" y="12065000"/>
                </a:lnTo>
                <a:lnTo>
                  <a:pt x="2591371" y="12065000"/>
                </a:lnTo>
                <a:lnTo>
                  <a:pt x="2633141" y="12192000"/>
                </a:lnTo>
                <a:lnTo>
                  <a:pt x="2675115" y="12319000"/>
                </a:lnTo>
                <a:lnTo>
                  <a:pt x="2717292" y="12446000"/>
                </a:lnTo>
                <a:lnTo>
                  <a:pt x="2759659" y="12573000"/>
                </a:lnTo>
                <a:lnTo>
                  <a:pt x="2802204" y="12700000"/>
                </a:lnTo>
                <a:lnTo>
                  <a:pt x="2844952" y="12700000"/>
                </a:lnTo>
                <a:lnTo>
                  <a:pt x="2887865" y="12827000"/>
                </a:lnTo>
                <a:lnTo>
                  <a:pt x="2930969" y="12954000"/>
                </a:lnTo>
                <a:lnTo>
                  <a:pt x="2974251" y="13081000"/>
                </a:lnTo>
                <a:lnTo>
                  <a:pt x="3017710" y="13208000"/>
                </a:lnTo>
                <a:lnTo>
                  <a:pt x="3061322" y="13208000"/>
                </a:lnTo>
                <a:lnTo>
                  <a:pt x="3105112" y="13335000"/>
                </a:lnTo>
                <a:lnTo>
                  <a:pt x="3149066" y="13462000"/>
                </a:lnTo>
                <a:lnTo>
                  <a:pt x="3193173" y="13589000"/>
                </a:lnTo>
                <a:lnTo>
                  <a:pt x="3281870" y="13843000"/>
                </a:lnTo>
                <a:lnTo>
                  <a:pt x="3326447" y="13843000"/>
                </a:lnTo>
                <a:lnTo>
                  <a:pt x="3416033" y="14097000"/>
                </a:lnTo>
                <a:lnTo>
                  <a:pt x="3506178" y="14351000"/>
                </a:lnTo>
                <a:lnTo>
                  <a:pt x="3551453" y="14351000"/>
                </a:lnTo>
                <a:lnTo>
                  <a:pt x="3596868" y="14478000"/>
                </a:lnTo>
                <a:lnTo>
                  <a:pt x="3688054" y="14732000"/>
                </a:lnTo>
                <a:lnTo>
                  <a:pt x="3779736" y="14986000"/>
                </a:lnTo>
                <a:lnTo>
                  <a:pt x="3825760" y="14986000"/>
                </a:lnTo>
                <a:lnTo>
                  <a:pt x="3871874" y="15113000"/>
                </a:lnTo>
                <a:lnTo>
                  <a:pt x="4010888" y="15494000"/>
                </a:lnTo>
                <a:lnTo>
                  <a:pt x="4057434" y="15494000"/>
                </a:lnTo>
                <a:lnTo>
                  <a:pt x="4104068" y="15621000"/>
                </a:lnTo>
                <a:lnTo>
                  <a:pt x="4244505" y="16002000"/>
                </a:lnTo>
                <a:lnTo>
                  <a:pt x="4291495" y="16002000"/>
                </a:lnTo>
                <a:lnTo>
                  <a:pt x="4480179" y="16510000"/>
                </a:lnTo>
                <a:lnTo>
                  <a:pt x="4527524" y="16510000"/>
                </a:lnTo>
                <a:lnTo>
                  <a:pt x="4717491" y="17018000"/>
                </a:lnTo>
                <a:lnTo>
                  <a:pt x="4765116" y="17018000"/>
                </a:lnTo>
                <a:lnTo>
                  <a:pt x="4812792" y="17145000"/>
                </a:lnTo>
                <a:lnTo>
                  <a:pt x="6053747" y="17145000"/>
                </a:lnTo>
                <a:close/>
              </a:path>
              <a:path w="8130540" h="17145000">
                <a:moveTo>
                  <a:pt x="8130006" y="17145000"/>
                </a:moveTo>
                <a:lnTo>
                  <a:pt x="8107858" y="17018013"/>
                </a:lnTo>
                <a:lnTo>
                  <a:pt x="8085633" y="17018013"/>
                </a:lnTo>
                <a:lnTo>
                  <a:pt x="8063344" y="16891013"/>
                </a:lnTo>
                <a:lnTo>
                  <a:pt x="8041005" y="16764013"/>
                </a:lnTo>
                <a:lnTo>
                  <a:pt x="8018602" y="16764013"/>
                </a:lnTo>
                <a:lnTo>
                  <a:pt x="7996148" y="16637013"/>
                </a:lnTo>
                <a:lnTo>
                  <a:pt x="7973657" y="16510013"/>
                </a:lnTo>
                <a:lnTo>
                  <a:pt x="7951114" y="16510013"/>
                </a:lnTo>
                <a:lnTo>
                  <a:pt x="7905928" y="16256013"/>
                </a:lnTo>
                <a:lnTo>
                  <a:pt x="7883284" y="16129013"/>
                </a:lnTo>
                <a:lnTo>
                  <a:pt x="7860614" y="16129013"/>
                </a:lnTo>
                <a:lnTo>
                  <a:pt x="7792479" y="15748013"/>
                </a:lnTo>
                <a:lnTo>
                  <a:pt x="7769746" y="15748013"/>
                </a:lnTo>
                <a:lnTo>
                  <a:pt x="7701521" y="15367013"/>
                </a:lnTo>
                <a:lnTo>
                  <a:pt x="7678775" y="15367013"/>
                </a:lnTo>
                <a:lnTo>
                  <a:pt x="7610653" y="14986013"/>
                </a:lnTo>
                <a:lnTo>
                  <a:pt x="7587983" y="14986013"/>
                </a:lnTo>
                <a:lnTo>
                  <a:pt x="7542720" y="14732013"/>
                </a:lnTo>
                <a:lnTo>
                  <a:pt x="7520140" y="14605013"/>
                </a:lnTo>
                <a:lnTo>
                  <a:pt x="7497610" y="14605013"/>
                </a:lnTo>
                <a:lnTo>
                  <a:pt x="7475106" y="14478013"/>
                </a:lnTo>
                <a:lnTo>
                  <a:pt x="7452665" y="14351013"/>
                </a:lnTo>
                <a:lnTo>
                  <a:pt x="7430262" y="14224013"/>
                </a:lnTo>
                <a:lnTo>
                  <a:pt x="7407923" y="14097013"/>
                </a:lnTo>
                <a:lnTo>
                  <a:pt x="7385634" y="14097013"/>
                </a:lnTo>
                <a:lnTo>
                  <a:pt x="7363409" y="13970013"/>
                </a:lnTo>
                <a:lnTo>
                  <a:pt x="7341260" y="13843013"/>
                </a:lnTo>
                <a:lnTo>
                  <a:pt x="7319175" y="13716013"/>
                </a:lnTo>
                <a:lnTo>
                  <a:pt x="7297179" y="13589013"/>
                </a:lnTo>
                <a:lnTo>
                  <a:pt x="7275246" y="13589013"/>
                </a:lnTo>
                <a:lnTo>
                  <a:pt x="7253402" y="13462013"/>
                </a:lnTo>
                <a:lnTo>
                  <a:pt x="7231659" y="13335013"/>
                </a:lnTo>
                <a:lnTo>
                  <a:pt x="7209993" y="13208013"/>
                </a:lnTo>
                <a:lnTo>
                  <a:pt x="7188428" y="13081013"/>
                </a:lnTo>
                <a:lnTo>
                  <a:pt x="7166965" y="13081013"/>
                </a:lnTo>
                <a:lnTo>
                  <a:pt x="7145604" y="12954013"/>
                </a:lnTo>
                <a:lnTo>
                  <a:pt x="7124344" y="12827013"/>
                </a:lnTo>
                <a:lnTo>
                  <a:pt x="7103211" y="12700013"/>
                </a:lnTo>
                <a:lnTo>
                  <a:pt x="7082180" y="12573013"/>
                </a:lnTo>
                <a:lnTo>
                  <a:pt x="7061276" y="12573013"/>
                </a:lnTo>
                <a:lnTo>
                  <a:pt x="7040499" y="12446013"/>
                </a:lnTo>
                <a:lnTo>
                  <a:pt x="7019849" y="12319013"/>
                </a:lnTo>
                <a:lnTo>
                  <a:pt x="6999338" y="12192013"/>
                </a:lnTo>
                <a:lnTo>
                  <a:pt x="6978955" y="12065013"/>
                </a:lnTo>
                <a:lnTo>
                  <a:pt x="6958711" y="11938013"/>
                </a:lnTo>
                <a:lnTo>
                  <a:pt x="6938619" y="11938013"/>
                </a:lnTo>
                <a:lnTo>
                  <a:pt x="6918680" y="11811013"/>
                </a:lnTo>
                <a:lnTo>
                  <a:pt x="6898881" y="11684013"/>
                </a:lnTo>
                <a:lnTo>
                  <a:pt x="6879247" y="11557013"/>
                </a:lnTo>
                <a:lnTo>
                  <a:pt x="6859778" y="11430013"/>
                </a:lnTo>
                <a:lnTo>
                  <a:pt x="6840474" y="11430013"/>
                </a:lnTo>
                <a:lnTo>
                  <a:pt x="6821335" y="11303013"/>
                </a:lnTo>
                <a:lnTo>
                  <a:pt x="6802374" y="11176013"/>
                </a:lnTo>
                <a:lnTo>
                  <a:pt x="6783591" y="11049013"/>
                </a:lnTo>
                <a:lnTo>
                  <a:pt x="6764985" y="10922013"/>
                </a:lnTo>
                <a:lnTo>
                  <a:pt x="6746570" y="10795013"/>
                </a:lnTo>
                <a:lnTo>
                  <a:pt x="6728346" y="10668013"/>
                </a:lnTo>
                <a:lnTo>
                  <a:pt x="6710312" y="10668013"/>
                </a:lnTo>
                <a:lnTo>
                  <a:pt x="6692481" y="10541013"/>
                </a:lnTo>
                <a:lnTo>
                  <a:pt x="6674853" y="10414013"/>
                </a:lnTo>
                <a:lnTo>
                  <a:pt x="6657429" y="10287013"/>
                </a:lnTo>
                <a:lnTo>
                  <a:pt x="6640208" y="10160013"/>
                </a:lnTo>
                <a:lnTo>
                  <a:pt x="6623215" y="10033013"/>
                </a:lnTo>
                <a:lnTo>
                  <a:pt x="6606426" y="10033013"/>
                </a:lnTo>
                <a:lnTo>
                  <a:pt x="6589865" y="9906013"/>
                </a:lnTo>
                <a:lnTo>
                  <a:pt x="6573545" y="9779013"/>
                </a:lnTo>
                <a:lnTo>
                  <a:pt x="6557442" y="9652013"/>
                </a:lnTo>
                <a:lnTo>
                  <a:pt x="6541579" y="9525013"/>
                </a:lnTo>
                <a:lnTo>
                  <a:pt x="6525946" y="9398013"/>
                </a:lnTo>
                <a:lnTo>
                  <a:pt x="6510566" y="9271013"/>
                </a:lnTo>
                <a:lnTo>
                  <a:pt x="6495428" y="9271013"/>
                </a:lnTo>
                <a:lnTo>
                  <a:pt x="6480556" y="9144013"/>
                </a:lnTo>
                <a:lnTo>
                  <a:pt x="6465925" y="9017013"/>
                </a:lnTo>
                <a:lnTo>
                  <a:pt x="6451549" y="8890013"/>
                </a:lnTo>
                <a:lnTo>
                  <a:pt x="6437452" y="8763013"/>
                </a:lnTo>
                <a:lnTo>
                  <a:pt x="6423609" y="8636013"/>
                </a:lnTo>
                <a:lnTo>
                  <a:pt x="6410045" y="8509013"/>
                </a:lnTo>
                <a:lnTo>
                  <a:pt x="6396761" y="8509013"/>
                </a:lnTo>
                <a:lnTo>
                  <a:pt x="6383756" y="8382013"/>
                </a:lnTo>
                <a:lnTo>
                  <a:pt x="6371031" y="8255013"/>
                </a:lnTo>
                <a:lnTo>
                  <a:pt x="6358598" y="8128013"/>
                </a:lnTo>
                <a:lnTo>
                  <a:pt x="6346444" y="8001013"/>
                </a:lnTo>
                <a:lnTo>
                  <a:pt x="6334607" y="7874013"/>
                </a:lnTo>
                <a:lnTo>
                  <a:pt x="6323063" y="7874013"/>
                </a:lnTo>
                <a:lnTo>
                  <a:pt x="6311811" y="7747013"/>
                </a:lnTo>
                <a:lnTo>
                  <a:pt x="6300889" y="7620013"/>
                </a:lnTo>
                <a:lnTo>
                  <a:pt x="6290259" y="7493013"/>
                </a:lnTo>
                <a:lnTo>
                  <a:pt x="6279959" y="7366013"/>
                </a:lnTo>
                <a:lnTo>
                  <a:pt x="6269977" y="7239013"/>
                </a:lnTo>
                <a:lnTo>
                  <a:pt x="6260325" y="7112013"/>
                </a:lnTo>
                <a:lnTo>
                  <a:pt x="6250991" y="7112013"/>
                </a:lnTo>
                <a:lnTo>
                  <a:pt x="6241999" y="6985013"/>
                </a:lnTo>
                <a:lnTo>
                  <a:pt x="6233338" y="6858013"/>
                </a:lnTo>
                <a:lnTo>
                  <a:pt x="6225032" y="6731013"/>
                </a:lnTo>
                <a:lnTo>
                  <a:pt x="6217056" y="6604013"/>
                </a:lnTo>
                <a:lnTo>
                  <a:pt x="6209436" y="6477013"/>
                </a:lnTo>
                <a:lnTo>
                  <a:pt x="6202172" y="6350013"/>
                </a:lnTo>
                <a:lnTo>
                  <a:pt x="6195263" y="6350013"/>
                </a:lnTo>
                <a:lnTo>
                  <a:pt x="6188710" y="6223012"/>
                </a:lnTo>
                <a:lnTo>
                  <a:pt x="6182538" y="6096012"/>
                </a:lnTo>
                <a:lnTo>
                  <a:pt x="6176721" y="5969012"/>
                </a:lnTo>
                <a:lnTo>
                  <a:pt x="6171285" y="5842012"/>
                </a:lnTo>
                <a:lnTo>
                  <a:pt x="6166231" y="5715012"/>
                </a:lnTo>
                <a:lnTo>
                  <a:pt x="6161557" y="5588012"/>
                </a:lnTo>
                <a:lnTo>
                  <a:pt x="6157265" y="5588012"/>
                </a:lnTo>
                <a:lnTo>
                  <a:pt x="6153366" y="5461012"/>
                </a:lnTo>
                <a:lnTo>
                  <a:pt x="6149860" y="5334012"/>
                </a:lnTo>
                <a:lnTo>
                  <a:pt x="6146749" y="5207012"/>
                </a:lnTo>
                <a:lnTo>
                  <a:pt x="6144057" y="5080012"/>
                </a:lnTo>
                <a:lnTo>
                  <a:pt x="6141758" y="4953012"/>
                </a:lnTo>
                <a:lnTo>
                  <a:pt x="6139866" y="4953012"/>
                </a:lnTo>
                <a:lnTo>
                  <a:pt x="6138405" y="4826012"/>
                </a:lnTo>
                <a:lnTo>
                  <a:pt x="6137351" y="4699012"/>
                </a:lnTo>
                <a:lnTo>
                  <a:pt x="6136729" y="4572012"/>
                </a:lnTo>
                <a:lnTo>
                  <a:pt x="6136525" y="4445012"/>
                </a:lnTo>
                <a:lnTo>
                  <a:pt x="6136754" y="4318012"/>
                </a:lnTo>
                <a:lnTo>
                  <a:pt x="6137427" y="4318012"/>
                </a:lnTo>
                <a:lnTo>
                  <a:pt x="6138532" y="4191012"/>
                </a:lnTo>
                <a:lnTo>
                  <a:pt x="6140081" y="4064012"/>
                </a:lnTo>
                <a:lnTo>
                  <a:pt x="6142075" y="3937012"/>
                </a:lnTo>
                <a:lnTo>
                  <a:pt x="6144526" y="3810012"/>
                </a:lnTo>
                <a:lnTo>
                  <a:pt x="6147435" y="3683012"/>
                </a:lnTo>
                <a:lnTo>
                  <a:pt x="6150800" y="3683012"/>
                </a:lnTo>
                <a:lnTo>
                  <a:pt x="6154623" y="3556012"/>
                </a:lnTo>
                <a:lnTo>
                  <a:pt x="6158928" y="3429012"/>
                </a:lnTo>
                <a:lnTo>
                  <a:pt x="6163703" y="3302012"/>
                </a:lnTo>
                <a:lnTo>
                  <a:pt x="6168949" y="3175012"/>
                </a:lnTo>
                <a:lnTo>
                  <a:pt x="6174676" y="3048012"/>
                </a:lnTo>
                <a:lnTo>
                  <a:pt x="6180887" y="3048012"/>
                </a:lnTo>
                <a:lnTo>
                  <a:pt x="6187579" y="2921012"/>
                </a:lnTo>
                <a:lnTo>
                  <a:pt x="6194780" y="2794012"/>
                </a:lnTo>
                <a:lnTo>
                  <a:pt x="6202464" y="2667012"/>
                </a:lnTo>
                <a:lnTo>
                  <a:pt x="6210655" y="2540012"/>
                </a:lnTo>
                <a:lnTo>
                  <a:pt x="6219355" y="2540012"/>
                </a:lnTo>
                <a:lnTo>
                  <a:pt x="6228562" y="2413012"/>
                </a:lnTo>
                <a:lnTo>
                  <a:pt x="6238278" y="2286012"/>
                </a:lnTo>
                <a:lnTo>
                  <a:pt x="6248514" y="2159012"/>
                </a:lnTo>
                <a:lnTo>
                  <a:pt x="6259271" y="2032012"/>
                </a:lnTo>
                <a:lnTo>
                  <a:pt x="6270561" y="2032012"/>
                </a:lnTo>
                <a:lnTo>
                  <a:pt x="6282372" y="1905012"/>
                </a:lnTo>
                <a:lnTo>
                  <a:pt x="6294717" y="1778012"/>
                </a:lnTo>
                <a:lnTo>
                  <a:pt x="6307594" y="1651012"/>
                </a:lnTo>
                <a:lnTo>
                  <a:pt x="6321031" y="1524012"/>
                </a:lnTo>
                <a:lnTo>
                  <a:pt x="6335001" y="1524012"/>
                </a:lnTo>
                <a:lnTo>
                  <a:pt x="6349517" y="1397012"/>
                </a:lnTo>
                <a:lnTo>
                  <a:pt x="6364592" y="1270012"/>
                </a:lnTo>
                <a:lnTo>
                  <a:pt x="6380226" y="1143012"/>
                </a:lnTo>
                <a:lnTo>
                  <a:pt x="6396431" y="1143012"/>
                </a:lnTo>
                <a:lnTo>
                  <a:pt x="6413182" y="1016012"/>
                </a:lnTo>
                <a:lnTo>
                  <a:pt x="6430518" y="889012"/>
                </a:lnTo>
                <a:lnTo>
                  <a:pt x="6448425" y="762012"/>
                </a:lnTo>
                <a:lnTo>
                  <a:pt x="6466916" y="635012"/>
                </a:lnTo>
                <a:lnTo>
                  <a:pt x="6485979" y="635012"/>
                </a:lnTo>
                <a:lnTo>
                  <a:pt x="6505638" y="508012"/>
                </a:lnTo>
                <a:lnTo>
                  <a:pt x="6525882" y="381012"/>
                </a:lnTo>
                <a:lnTo>
                  <a:pt x="6546723" y="254012"/>
                </a:lnTo>
                <a:lnTo>
                  <a:pt x="6568173" y="254012"/>
                </a:lnTo>
                <a:lnTo>
                  <a:pt x="6590220" y="127012"/>
                </a:lnTo>
                <a:lnTo>
                  <a:pt x="6604000" y="12"/>
                </a:lnTo>
                <a:lnTo>
                  <a:pt x="3998074" y="12"/>
                </a:lnTo>
                <a:lnTo>
                  <a:pt x="3997248" y="127012"/>
                </a:lnTo>
                <a:lnTo>
                  <a:pt x="3985222" y="127012"/>
                </a:lnTo>
                <a:lnTo>
                  <a:pt x="3979430" y="254012"/>
                </a:lnTo>
                <a:lnTo>
                  <a:pt x="3973779" y="254012"/>
                </a:lnTo>
                <a:lnTo>
                  <a:pt x="3968280" y="381012"/>
                </a:lnTo>
                <a:lnTo>
                  <a:pt x="3957713" y="381012"/>
                </a:lnTo>
                <a:lnTo>
                  <a:pt x="3952646" y="508012"/>
                </a:lnTo>
                <a:lnTo>
                  <a:pt x="3947731" y="508012"/>
                </a:lnTo>
                <a:lnTo>
                  <a:pt x="3942943" y="635012"/>
                </a:lnTo>
                <a:lnTo>
                  <a:pt x="3933799" y="635012"/>
                </a:lnTo>
                <a:lnTo>
                  <a:pt x="3929443" y="762012"/>
                </a:lnTo>
                <a:lnTo>
                  <a:pt x="3925227" y="762012"/>
                </a:lnTo>
                <a:lnTo>
                  <a:pt x="3921137" y="889012"/>
                </a:lnTo>
                <a:lnTo>
                  <a:pt x="3913390" y="889012"/>
                </a:lnTo>
                <a:lnTo>
                  <a:pt x="3909720" y="1016012"/>
                </a:lnTo>
                <a:lnTo>
                  <a:pt x="3902786" y="1016012"/>
                </a:lnTo>
                <a:lnTo>
                  <a:pt x="3899522" y="1143012"/>
                </a:lnTo>
                <a:lnTo>
                  <a:pt x="3896385" y="1143012"/>
                </a:lnTo>
                <a:lnTo>
                  <a:pt x="3893388" y="1270012"/>
                </a:lnTo>
                <a:lnTo>
                  <a:pt x="3887787" y="1270012"/>
                </a:lnTo>
                <a:lnTo>
                  <a:pt x="3885184" y="1397012"/>
                </a:lnTo>
                <a:lnTo>
                  <a:pt x="3882707" y="1397012"/>
                </a:lnTo>
                <a:lnTo>
                  <a:pt x="3880358" y="1524012"/>
                </a:lnTo>
                <a:lnTo>
                  <a:pt x="3876052" y="1524012"/>
                </a:lnTo>
                <a:lnTo>
                  <a:pt x="3874084" y="1651012"/>
                </a:lnTo>
                <a:lnTo>
                  <a:pt x="3872255" y="1651012"/>
                </a:lnTo>
                <a:lnTo>
                  <a:pt x="3870541" y="1778012"/>
                </a:lnTo>
                <a:lnTo>
                  <a:pt x="3867493" y="1778012"/>
                </a:lnTo>
                <a:lnTo>
                  <a:pt x="3866146" y="1905012"/>
                </a:lnTo>
                <a:lnTo>
                  <a:pt x="3864940" y="1905012"/>
                </a:lnTo>
                <a:lnTo>
                  <a:pt x="3863848" y="2032012"/>
                </a:lnTo>
                <a:lnTo>
                  <a:pt x="3862019" y="2032012"/>
                </a:lnTo>
                <a:lnTo>
                  <a:pt x="3861282" y="2159012"/>
                </a:lnTo>
                <a:lnTo>
                  <a:pt x="3860673" y="2159012"/>
                </a:lnTo>
                <a:lnTo>
                  <a:pt x="3860177" y="2286012"/>
                </a:lnTo>
                <a:lnTo>
                  <a:pt x="3859542" y="2286012"/>
                </a:lnTo>
                <a:lnTo>
                  <a:pt x="3859403" y="2413012"/>
                </a:lnTo>
                <a:lnTo>
                  <a:pt x="3859466" y="2540012"/>
                </a:lnTo>
                <a:lnTo>
                  <a:pt x="3859974" y="2540012"/>
                </a:lnTo>
                <a:lnTo>
                  <a:pt x="3860406" y="2667012"/>
                </a:lnTo>
                <a:lnTo>
                  <a:pt x="3860952" y="2667012"/>
                </a:lnTo>
                <a:lnTo>
                  <a:pt x="3861600" y="2794012"/>
                </a:lnTo>
                <a:lnTo>
                  <a:pt x="3863238" y="2794012"/>
                </a:lnTo>
                <a:lnTo>
                  <a:pt x="3864216" y="2921012"/>
                </a:lnTo>
                <a:lnTo>
                  <a:pt x="3865308" y="2921012"/>
                </a:lnTo>
                <a:lnTo>
                  <a:pt x="3866502" y="3048012"/>
                </a:lnTo>
                <a:lnTo>
                  <a:pt x="3869220" y="3048012"/>
                </a:lnTo>
                <a:lnTo>
                  <a:pt x="3870731" y="3175012"/>
                </a:lnTo>
                <a:lnTo>
                  <a:pt x="3872357" y="3175012"/>
                </a:lnTo>
                <a:lnTo>
                  <a:pt x="3874071" y="3302012"/>
                </a:lnTo>
                <a:lnTo>
                  <a:pt x="3877830" y="3302012"/>
                </a:lnTo>
                <a:lnTo>
                  <a:pt x="3879875" y="3429012"/>
                </a:lnTo>
                <a:lnTo>
                  <a:pt x="3882009" y="3429012"/>
                </a:lnTo>
                <a:lnTo>
                  <a:pt x="3884244" y="3556012"/>
                </a:lnTo>
                <a:lnTo>
                  <a:pt x="3889006" y="3556012"/>
                </a:lnTo>
                <a:lnTo>
                  <a:pt x="3891546" y="3683012"/>
                </a:lnTo>
                <a:lnTo>
                  <a:pt x="3894175" y="3683012"/>
                </a:lnTo>
                <a:lnTo>
                  <a:pt x="3896893" y="3810012"/>
                </a:lnTo>
                <a:lnTo>
                  <a:pt x="3902646" y="3810012"/>
                </a:lnTo>
                <a:lnTo>
                  <a:pt x="3905656" y="3937012"/>
                </a:lnTo>
                <a:lnTo>
                  <a:pt x="3908768" y="3937012"/>
                </a:lnTo>
                <a:lnTo>
                  <a:pt x="3911968" y="4064012"/>
                </a:lnTo>
                <a:lnTo>
                  <a:pt x="3918648" y="4064012"/>
                </a:lnTo>
                <a:lnTo>
                  <a:pt x="3922128" y="4191012"/>
                </a:lnTo>
                <a:lnTo>
                  <a:pt x="3925697" y="4191012"/>
                </a:lnTo>
                <a:lnTo>
                  <a:pt x="3929354" y="4318012"/>
                </a:lnTo>
                <a:lnTo>
                  <a:pt x="3936936" y="4318012"/>
                </a:lnTo>
                <a:lnTo>
                  <a:pt x="3940860" y="4445012"/>
                </a:lnTo>
                <a:lnTo>
                  <a:pt x="3944861" y="4445012"/>
                </a:lnTo>
                <a:lnTo>
                  <a:pt x="3948963" y="4572012"/>
                </a:lnTo>
                <a:lnTo>
                  <a:pt x="3957409" y="4572012"/>
                </a:lnTo>
                <a:lnTo>
                  <a:pt x="3961765" y="4699012"/>
                </a:lnTo>
                <a:lnTo>
                  <a:pt x="3966197" y="4699012"/>
                </a:lnTo>
                <a:lnTo>
                  <a:pt x="3970718" y="4826012"/>
                </a:lnTo>
                <a:lnTo>
                  <a:pt x="3979989" y="4826012"/>
                </a:lnTo>
                <a:lnTo>
                  <a:pt x="3984752" y="4953012"/>
                </a:lnTo>
                <a:lnTo>
                  <a:pt x="3989590" y="4953012"/>
                </a:lnTo>
                <a:lnTo>
                  <a:pt x="3994518" y="5080012"/>
                </a:lnTo>
                <a:lnTo>
                  <a:pt x="4004589" y="5080012"/>
                </a:lnTo>
                <a:lnTo>
                  <a:pt x="4009745" y="5207012"/>
                </a:lnTo>
                <a:lnTo>
                  <a:pt x="4014965" y="5207012"/>
                </a:lnTo>
                <a:lnTo>
                  <a:pt x="4020274" y="5334012"/>
                </a:lnTo>
                <a:lnTo>
                  <a:pt x="4030256" y="5334012"/>
                </a:lnTo>
                <a:lnTo>
                  <a:pt x="4040428" y="5461012"/>
                </a:lnTo>
                <a:lnTo>
                  <a:pt x="4050792" y="5588012"/>
                </a:lnTo>
                <a:lnTo>
                  <a:pt x="4061358" y="5588012"/>
                </a:lnTo>
                <a:lnTo>
                  <a:pt x="4072102" y="5715012"/>
                </a:lnTo>
                <a:lnTo>
                  <a:pt x="4083050" y="5842012"/>
                </a:lnTo>
                <a:lnTo>
                  <a:pt x="4094175" y="5842012"/>
                </a:lnTo>
                <a:lnTo>
                  <a:pt x="4105491" y="5969012"/>
                </a:lnTo>
                <a:lnTo>
                  <a:pt x="4116997" y="6096012"/>
                </a:lnTo>
                <a:lnTo>
                  <a:pt x="4128681" y="6096012"/>
                </a:lnTo>
                <a:lnTo>
                  <a:pt x="4140555" y="6223012"/>
                </a:lnTo>
                <a:lnTo>
                  <a:pt x="4152620" y="6350013"/>
                </a:lnTo>
                <a:lnTo>
                  <a:pt x="4164863" y="6350013"/>
                </a:lnTo>
                <a:lnTo>
                  <a:pt x="4177284" y="6477013"/>
                </a:lnTo>
                <a:lnTo>
                  <a:pt x="4189895" y="6604013"/>
                </a:lnTo>
                <a:lnTo>
                  <a:pt x="4202684" y="6604013"/>
                </a:lnTo>
                <a:lnTo>
                  <a:pt x="4215650" y="6731013"/>
                </a:lnTo>
                <a:lnTo>
                  <a:pt x="4228795" y="6858013"/>
                </a:lnTo>
                <a:lnTo>
                  <a:pt x="4242130" y="6858013"/>
                </a:lnTo>
                <a:lnTo>
                  <a:pt x="4255630" y="6985013"/>
                </a:lnTo>
                <a:lnTo>
                  <a:pt x="4269308" y="7112013"/>
                </a:lnTo>
                <a:lnTo>
                  <a:pt x="4283151" y="7112013"/>
                </a:lnTo>
                <a:lnTo>
                  <a:pt x="4297184" y="7239013"/>
                </a:lnTo>
                <a:lnTo>
                  <a:pt x="4311383" y="7366013"/>
                </a:lnTo>
                <a:lnTo>
                  <a:pt x="4325759" y="7366013"/>
                </a:lnTo>
                <a:lnTo>
                  <a:pt x="4340301" y="7493013"/>
                </a:lnTo>
                <a:lnTo>
                  <a:pt x="4355020" y="7620013"/>
                </a:lnTo>
                <a:lnTo>
                  <a:pt x="4369905" y="7620013"/>
                </a:lnTo>
                <a:lnTo>
                  <a:pt x="4384954" y="7747013"/>
                </a:lnTo>
                <a:lnTo>
                  <a:pt x="4400181" y="7874013"/>
                </a:lnTo>
                <a:lnTo>
                  <a:pt x="4415561" y="7874013"/>
                </a:lnTo>
                <a:lnTo>
                  <a:pt x="4431119" y="8001013"/>
                </a:lnTo>
                <a:lnTo>
                  <a:pt x="4446841" y="8128013"/>
                </a:lnTo>
                <a:lnTo>
                  <a:pt x="4462716" y="8128013"/>
                </a:lnTo>
                <a:lnTo>
                  <a:pt x="4478769" y="8255013"/>
                </a:lnTo>
                <a:lnTo>
                  <a:pt x="4494974" y="8382013"/>
                </a:lnTo>
                <a:lnTo>
                  <a:pt x="4511345" y="8382013"/>
                </a:lnTo>
                <a:lnTo>
                  <a:pt x="4527880" y="8509013"/>
                </a:lnTo>
                <a:lnTo>
                  <a:pt x="4544568" y="8636013"/>
                </a:lnTo>
                <a:lnTo>
                  <a:pt x="4561408" y="8636013"/>
                </a:lnTo>
                <a:lnTo>
                  <a:pt x="4578413" y="8763013"/>
                </a:lnTo>
                <a:lnTo>
                  <a:pt x="4595584" y="8890013"/>
                </a:lnTo>
                <a:lnTo>
                  <a:pt x="4612894" y="8890013"/>
                </a:lnTo>
                <a:lnTo>
                  <a:pt x="4630369" y="9017013"/>
                </a:lnTo>
                <a:lnTo>
                  <a:pt x="4647997" y="9144013"/>
                </a:lnTo>
                <a:lnTo>
                  <a:pt x="4665777" y="9144013"/>
                </a:lnTo>
                <a:lnTo>
                  <a:pt x="4683709" y="9271013"/>
                </a:lnTo>
                <a:lnTo>
                  <a:pt x="4701794" y="9398013"/>
                </a:lnTo>
                <a:lnTo>
                  <a:pt x="4720031" y="9398013"/>
                </a:lnTo>
                <a:lnTo>
                  <a:pt x="4738408" y="9525013"/>
                </a:lnTo>
                <a:lnTo>
                  <a:pt x="4756937" y="9652013"/>
                </a:lnTo>
                <a:lnTo>
                  <a:pt x="4775619" y="9652013"/>
                </a:lnTo>
                <a:lnTo>
                  <a:pt x="4794440" y="9779013"/>
                </a:lnTo>
                <a:lnTo>
                  <a:pt x="4813414" y="9906013"/>
                </a:lnTo>
                <a:lnTo>
                  <a:pt x="4832528" y="9906013"/>
                </a:lnTo>
                <a:lnTo>
                  <a:pt x="4851793" y="10033013"/>
                </a:lnTo>
                <a:lnTo>
                  <a:pt x="4871186" y="10160013"/>
                </a:lnTo>
                <a:lnTo>
                  <a:pt x="4890732" y="10160013"/>
                </a:lnTo>
                <a:lnTo>
                  <a:pt x="4910417" y="10287013"/>
                </a:lnTo>
                <a:lnTo>
                  <a:pt x="4930241" y="10414013"/>
                </a:lnTo>
                <a:lnTo>
                  <a:pt x="4950206" y="10414013"/>
                </a:lnTo>
                <a:lnTo>
                  <a:pt x="4970310" y="10541013"/>
                </a:lnTo>
                <a:lnTo>
                  <a:pt x="4990554" y="10668013"/>
                </a:lnTo>
                <a:lnTo>
                  <a:pt x="5010924" y="10668013"/>
                </a:lnTo>
                <a:lnTo>
                  <a:pt x="5031435" y="10795013"/>
                </a:lnTo>
                <a:lnTo>
                  <a:pt x="5052085" y="10922013"/>
                </a:lnTo>
                <a:lnTo>
                  <a:pt x="5072862" y="10922013"/>
                </a:lnTo>
                <a:lnTo>
                  <a:pt x="5093779" y="11049013"/>
                </a:lnTo>
                <a:lnTo>
                  <a:pt x="5114823" y="11176013"/>
                </a:lnTo>
                <a:lnTo>
                  <a:pt x="5135994" y="11176013"/>
                </a:lnTo>
                <a:lnTo>
                  <a:pt x="5157305" y="11303013"/>
                </a:lnTo>
                <a:lnTo>
                  <a:pt x="5178730" y="11430013"/>
                </a:lnTo>
                <a:lnTo>
                  <a:pt x="5200294" y="11430013"/>
                </a:lnTo>
                <a:lnTo>
                  <a:pt x="5221986" y="11557013"/>
                </a:lnTo>
                <a:lnTo>
                  <a:pt x="5243804" y="11557013"/>
                </a:lnTo>
                <a:lnTo>
                  <a:pt x="5265737" y="11684013"/>
                </a:lnTo>
                <a:lnTo>
                  <a:pt x="5287810" y="11811013"/>
                </a:lnTo>
                <a:lnTo>
                  <a:pt x="5309997" y="11811013"/>
                </a:lnTo>
                <a:lnTo>
                  <a:pt x="5332298" y="11938013"/>
                </a:lnTo>
                <a:lnTo>
                  <a:pt x="5354739" y="12065013"/>
                </a:lnTo>
                <a:lnTo>
                  <a:pt x="5377294" y="12065013"/>
                </a:lnTo>
                <a:lnTo>
                  <a:pt x="5399964" y="12192013"/>
                </a:lnTo>
                <a:lnTo>
                  <a:pt x="5422760" y="12319013"/>
                </a:lnTo>
                <a:lnTo>
                  <a:pt x="5445658" y="12319013"/>
                </a:lnTo>
                <a:lnTo>
                  <a:pt x="5468696" y="12446013"/>
                </a:lnTo>
                <a:lnTo>
                  <a:pt x="5491835" y="12573013"/>
                </a:lnTo>
                <a:lnTo>
                  <a:pt x="5515089" y="12573013"/>
                </a:lnTo>
                <a:lnTo>
                  <a:pt x="5538457" y="12700013"/>
                </a:lnTo>
                <a:lnTo>
                  <a:pt x="5561952" y="12827013"/>
                </a:lnTo>
                <a:lnTo>
                  <a:pt x="5585549" y="12827013"/>
                </a:lnTo>
                <a:lnTo>
                  <a:pt x="5609260" y="12954013"/>
                </a:lnTo>
                <a:lnTo>
                  <a:pt x="5633072" y="13081013"/>
                </a:lnTo>
                <a:lnTo>
                  <a:pt x="5656999" y="13081013"/>
                </a:lnTo>
                <a:lnTo>
                  <a:pt x="5681040" y="13208013"/>
                </a:lnTo>
                <a:lnTo>
                  <a:pt x="5705183" y="13335013"/>
                </a:lnTo>
                <a:lnTo>
                  <a:pt x="5729440" y="13335013"/>
                </a:lnTo>
                <a:lnTo>
                  <a:pt x="5753798" y="13462013"/>
                </a:lnTo>
                <a:lnTo>
                  <a:pt x="5778258" y="13589013"/>
                </a:lnTo>
                <a:lnTo>
                  <a:pt x="5802833" y="13589013"/>
                </a:lnTo>
                <a:lnTo>
                  <a:pt x="5827496" y="13716013"/>
                </a:lnTo>
                <a:lnTo>
                  <a:pt x="5852274" y="13716013"/>
                </a:lnTo>
                <a:lnTo>
                  <a:pt x="5877153" y="13843013"/>
                </a:lnTo>
                <a:lnTo>
                  <a:pt x="5902122" y="13970013"/>
                </a:lnTo>
                <a:lnTo>
                  <a:pt x="5927191" y="13970013"/>
                </a:lnTo>
                <a:lnTo>
                  <a:pt x="5952363" y="14097013"/>
                </a:lnTo>
                <a:lnTo>
                  <a:pt x="5977636" y="14224013"/>
                </a:lnTo>
                <a:lnTo>
                  <a:pt x="6003010" y="14224013"/>
                </a:lnTo>
                <a:lnTo>
                  <a:pt x="6028461" y="14351013"/>
                </a:lnTo>
                <a:lnTo>
                  <a:pt x="6054026" y="14478013"/>
                </a:lnTo>
                <a:lnTo>
                  <a:pt x="6079680" y="14478013"/>
                </a:lnTo>
                <a:lnTo>
                  <a:pt x="6105423" y="14605013"/>
                </a:lnTo>
                <a:lnTo>
                  <a:pt x="6131255" y="14732013"/>
                </a:lnTo>
                <a:lnTo>
                  <a:pt x="6157188" y="14732013"/>
                </a:lnTo>
                <a:lnTo>
                  <a:pt x="6183198" y="14859013"/>
                </a:lnTo>
                <a:lnTo>
                  <a:pt x="6209309" y="14986013"/>
                </a:lnTo>
                <a:lnTo>
                  <a:pt x="6235509" y="14986013"/>
                </a:lnTo>
                <a:lnTo>
                  <a:pt x="6261786" y="15113013"/>
                </a:lnTo>
                <a:lnTo>
                  <a:pt x="6288151" y="15240013"/>
                </a:lnTo>
                <a:lnTo>
                  <a:pt x="6314605" y="15240013"/>
                </a:lnTo>
                <a:lnTo>
                  <a:pt x="6341148" y="15367013"/>
                </a:lnTo>
                <a:lnTo>
                  <a:pt x="6367767" y="15367013"/>
                </a:lnTo>
                <a:lnTo>
                  <a:pt x="6394475" y="15494013"/>
                </a:lnTo>
                <a:lnTo>
                  <a:pt x="6421272" y="15621013"/>
                </a:lnTo>
                <a:lnTo>
                  <a:pt x="6448133" y="15621013"/>
                </a:lnTo>
                <a:lnTo>
                  <a:pt x="6475082" y="15748013"/>
                </a:lnTo>
                <a:lnTo>
                  <a:pt x="6502108" y="15875013"/>
                </a:lnTo>
                <a:lnTo>
                  <a:pt x="6529222" y="15875013"/>
                </a:lnTo>
                <a:lnTo>
                  <a:pt x="6556400" y="16002013"/>
                </a:lnTo>
                <a:lnTo>
                  <a:pt x="6583667" y="16129013"/>
                </a:lnTo>
                <a:lnTo>
                  <a:pt x="6610998" y="16129013"/>
                </a:lnTo>
                <a:lnTo>
                  <a:pt x="6638404" y="16256013"/>
                </a:lnTo>
                <a:lnTo>
                  <a:pt x="6665887" y="16383013"/>
                </a:lnTo>
                <a:lnTo>
                  <a:pt x="6693446" y="16383013"/>
                </a:lnTo>
                <a:lnTo>
                  <a:pt x="6721081" y="16510013"/>
                </a:lnTo>
                <a:lnTo>
                  <a:pt x="6748780" y="16510013"/>
                </a:lnTo>
                <a:lnTo>
                  <a:pt x="6776542" y="16637013"/>
                </a:lnTo>
                <a:lnTo>
                  <a:pt x="6804380" y="16764013"/>
                </a:lnTo>
                <a:lnTo>
                  <a:pt x="6832282" y="16764013"/>
                </a:lnTo>
                <a:lnTo>
                  <a:pt x="6860260" y="16891013"/>
                </a:lnTo>
                <a:lnTo>
                  <a:pt x="6888302" y="17018013"/>
                </a:lnTo>
                <a:lnTo>
                  <a:pt x="6916407" y="17018013"/>
                </a:lnTo>
                <a:lnTo>
                  <a:pt x="6944576" y="17145000"/>
                </a:lnTo>
                <a:lnTo>
                  <a:pt x="8130006" y="17145000"/>
                </a:lnTo>
                <a:close/>
              </a:path>
            </a:pathLst>
          </a:custGeom>
          <a:solidFill>
            <a:srgbClr val="E9F5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 userDrawn="1"/>
        </p:nvSpPr>
        <p:spPr>
          <a:xfrm>
            <a:off x="0" y="0"/>
            <a:ext cx="4018279" cy="311785"/>
          </a:xfrm>
          <a:custGeom>
            <a:avLst/>
            <a:gdLst/>
            <a:ahLst/>
            <a:cxnLst/>
            <a:rect l="l" t="t" r="r" b="b"/>
            <a:pathLst>
              <a:path w="4018279" h="311785">
                <a:moveTo>
                  <a:pt x="4017924" y="0"/>
                </a:moveTo>
                <a:lnTo>
                  <a:pt x="0" y="0"/>
                </a:lnTo>
                <a:lnTo>
                  <a:pt x="0" y="311658"/>
                </a:lnTo>
                <a:lnTo>
                  <a:pt x="3911460" y="311658"/>
                </a:lnTo>
                <a:lnTo>
                  <a:pt x="4017924" y="0"/>
                </a:lnTo>
                <a:close/>
              </a:path>
            </a:pathLst>
          </a:custGeom>
          <a:solidFill>
            <a:srgbClr val="629B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 userDrawn="1"/>
        </p:nvSpPr>
        <p:spPr>
          <a:xfrm>
            <a:off x="3911454" y="0"/>
            <a:ext cx="1915795" cy="311785"/>
          </a:xfrm>
          <a:custGeom>
            <a:avLst/>
            <a:gdLst/>
            <a:ahLst/>
            <a:cxnLst/>
            <a:rect l="l" t="t" r="r" b="b"/>
            <a:pathLst>
              <a:path w="1915795" h="311785">
                <a:moveTo>
                  <a:pt x="1915452" y="0"/>
                </a:moveTo>
                <a:lnTo>
                  <a:pt x="106476" y="0"/>
                </a:lnTo>
                <a:lnTo>
                  <a:pt x="0" y="311658"/>
                </a:lnTo>
                <a:lnTo>
                  <a:pt x="1761134" y="311658"/>
                </a:lnTo>
                <a:lnTo>
                  <a:pt x="1915452" y="0"/>
                </a:lnTo>
                <a:close/>
              </a:path>
            </a:pathLst>
          </a:custGeom>
          <a:solidFill>
            <a:srgbClr val="09867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 userDrawn="1"/>
        </p:nvSpPr>
        <p:spPr>
          <a:xfrm>
            <a:off x="5672581" y="0"/>
            <a:ext cx="4566920" cy="311785"/>
          </a:xfrm>
          <a:custGeom>
            <a:avLst/>
            <a:gdLst/>
            <a:ahLst/>
            <a:cxnLst/>
            <a:rect l="l" t="t" r="r" b="b"/>
            <a:pathLst>
              <a:path w="4566920" h="311785">
                <a:moveTo>
                  <a:pt x="4566475" y="0"/>
                </a:moveTo>
                <a:lnTo>
                  <a:pt x="154317" y="0"/>
                </a:lnTo>
                <a:lnTo>
                  <a:pt x="0" y="311658"/>
                </a:lnTo>
                <a:lnTo>
                  <a:pt x="4295622" y="311658"/>
                </a:lnTo>
                <a:lnTo>
                  <a:pt x="4566475" y="0"/>
                </a:lnTo>
                <a:close/>
              </a:path>
            </a:pathLst>
          </a:custGeom>
          <a:solidFill>
            <a:srgbClr val="06B3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20"/>
          <p:cNvSpPr/>
          <p:nvPr userDrawn="1"/>
        </p:nvSpPr>
        <p:spPr>
          <a:xfrm>
            <a:off x="9968210" y="0"/>
            <a:ext cx="3748404" cy="311785"/>
          </a:xfrm>
          <a:custGeom>
            <a:avLst/>
            <a:gdLst/>
            <a:ahLst/>
            <a:cxnLst/>
            <a:rect l="l" t="t" r="r" b="b"/>
            <a:pathLst>
              <a:path w="3748405" h="311785">
                <a:moveTo>
                  <a:pt x="3747795" y="0"/>
                </a:moveTo>
                <a:lnTo>
                  <a:pt x="270852" y="0"/>
                </a:lnTo>
                <a:lnTo>
                  <a:pt x="0" y="311658"/>
                </a:lnTo>
                <a:lnTo>
                  <a:pt x="3747795" y="311658"/>
                </a:lnTo>
                <a:lnTo>
                  <a:pt x="3747795" y="0"/>
                </a:lnTo>
                <a:close/>
              </a:path>
            </a:pathLst>
          </a:custGeom>
          <a:solidFill>
            <a:srgbClr val="0D6C8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21"/>
          <p:cNvSpPr/>
          <p:nvPr userDrawn="1"/>
        </p:nvSpPr>
        <p:spPr>
          <a:xfrm>
            <a:off x="0" y="16833337"/>
            <a:ext cx="4018279" cy="311785"/>
          </a:xfrm>
          <a:custGeom>
            <a:avLst/>
            <a:gdLst/>
            <a:ahLst/>
            <a:cxnLst/>
            <a:rect l="l" t="t" r="r" b="b"/>
            <a:pathLst>
              <a:path w="4018279" h="311784">
                <a:moveTo>
                  <a:pt x="4017924" y="0"/>
                </a:moveTo>
                <a:lnTo>
                  <a:pt x="0" y="0"/>
                </a:lnTo>
                <a:lnTo>
                  <a:pt x="0" y="311657"/>
                </a:lnTo>
                <a:lnTo>
                  <a:pt x="3911460" y="311657"/>
                </a:lnTo>
                <a:lnTo>
                  <a:pt x="4017924" y="0"/>
                </a:lnTo>
                <a:close/>
              </a:path>
            </a:pathLst>
          </a:custGeom>
          <a:solidFill>
            <a:srgbClr val="629B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g object 22"/>
          <p:cNvSpPr/>
          <p:nvPr userDrawn="1"/>
        </p:nvSpPr>
        <p:spPr>
          <a:xfrm>
            <a:off x="3911454" y="16833337"/>
            <a:ext cx="1915795" cy="311785"/>
          </a:xfrm>
          <a:custGeom>
            <a:avLst/>
            <a:gdLst/>
            <a:ahLst/>
            <a:cxnLst/>
            <a:rect l="l" t="t" r="r" b="b"/>
            <a:pathLst>
              <a:path w="1915795" h="311784">
                <a:moveTo>
                  <a:pt x="1915452" y="0"/>
                </a:moveTo>
                <a:lnTo>
                  <a:pt x="106476" y="0"/>
                </a:lnTo>
                <a:lnTo>
                  <a:pt x="0" y="311657"/>
                </a:lnTo>
                <a:lnTo>
                  <a:pt x="1761134" y="311657"/>
                </a:lnTo>
                <a:lnTo>
                  <a:pt x="1915452" y="0"/>
                </a:lnTo>
                <a:close/>
              </a:path>
            </a:pathLst>
          </a:custGeom>
          <a:solidFill>
            <a:srgbClr val="09867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g object 23"/>
          <p:cNvSpPr/>
          <p:nvPr userDrawn="1"/>
        </p:nvSpPr>
        <p:spPr>
          <a:xfrm>
            <a:off x="5672581" y="16833337"/>
            <a:ext cx="4566920" cy="311785"/>
          </a:xfrm>
          <a:custGeom>
            <a:avLst/>
            <a:gdLst/>
            <a:ahLst/>
            <a:cxnLst/>
            <a:rect l="l" t="t" r="r" b="b"/>
            <a:pathLst>
              <a:path w="4566920" h="311784">
                <a:moveTo>
                  <a:pt x="4566475" y="0"/>
                </a:moveTo>
                <a:lnTo>
                  <a:pt x="154317" y="0"/>
                </a:lnTo>
                <a:lnTo>
                  <a:pt x="0" y="311657"/>
                </a:lnTo>
                <a:lnTo>
                  <a:pt x="4295622" y="311657"/>
                </a:lnTo>
                <a:lnTo>
                  <a:pt x="4566475" y="0"/>
                </a:lnTo>
                <a:close/>
              </a:path>
            </a:pathLst>
          </a:custGeom>
          <a:solidFill>
            <a:srgbClr val="06B3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bg object 24"/>
          <p:cNvSpPr/>
          <p:nvPr userDrawn="1"/>
        </p:nvSpPr>
        <p:spPr>
          <a:xfrm>
            <a:off x="9968210" y="16833337"/>
            <a:ext cx="3748404" cy="311785"/>
          </a:xfrm>
          <a:custGeom>
            <a:avLst/>
            <a:gdLst/>
            <a:ahLst/>
            <a:cxnLst/>
            <a:rect l="l" t="t" r="r" b="b"/>
            <a:pathLst>
              <a:path w="3748405" h="311784">
                <a:moveTo>
                  <a:pt x="3747795" y="0"/>
                </a:moveTo>
                <a:lnTo>
                  <a:pt x="270852" y="0"/>
                </a:lnTo>
                <a:lnTo>
                  <a:pt x="0" y="311657"/>
                </a:lnTo>
                <a:lnTo>
                  <a:pt x="3747795" y="311657"/>
                </a:lnTo>
                <a:lnTo>
                  <a:pt x="3747795" y="0"/>
                </a:lnTo>
                <a:close/>
              </a:path>
            </a:pathLst>
          </a:custGeom>
          <a:solidFill>
            <a:srgbClr val="0D6C8D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5" name="bg object 25"/>
          <p:cNvPicPr/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2638018"/>
            <a:ext cx="5548718" cy="5721286"/>
          </a:xfrm>
          <a:prstGeom prst="rect">
            <a:avLst/>
          </a:prstGeom>
        </p:spPr>
      </p:pic>
      <p:pic>
        <p:nvPicPr>
          <p:cNvPr id="26" name="bg object 26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4898377" y="2928975"/>
            <a:ext cx="2615895" cy="4989080"/>
          </a:xfrm>
          <a:prstGeom prst="rect">
            <a:avLst/>
          </a:prstGeom>
        </p:spPr>
      </p:pic>
      <p:pic>
        <p:nvPicPr>
          <p:cNvPr id="27" name="bg object 27"/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6678180" y="3032036"/>
            <a:ext cx="4688090" cy="4725682"/>
          </a:xfrm>
          <a:prstGeom prst="rect">
            <a:avLst/>
          </a:prstGeom>
        </p:spPr>
      </p:pic>
      <p:pic>
        <p:nvPicPr>
          <p:cNvPr id="28" name="bg object 28"/>
          <p:cNvPicPr/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0236237" y="3234016"/>
            <a:ext cx="3479761" cy="4203192"/>
          </a:xfrm>
          <a:prstGeom prst="rect">
            <a:avLst/>
          </a:prstGeom>
        </p:spPr>
      </p:pic>
      <p:sp>
        <p:nvSpPr>
          <p:cNvPr id="29" name="bg object 29"/>
          <p:cNvSpPr/>
          <p:nvPr userDrawn="1"/>
        </p:nvSpPr>
        <p:spPr>
          <a:xfrm>
            <a:off x="0" y="2638019"/>
            <a:ext cx="5549265" cy="5721350"/>
          </a:xfrm>
          <a:custGeom>
            <a:avLst/>
            <a:gdLst/>
            <a:ahLst/>
            <a:cxnLst/>
            <a:rect l="l" t="t" r="r" b="b"/>
            <a:pathLst>
              <a:path w="5549265" h="5721350">
                <a:moveTo>
                  <a:pt x="0" y="0"/>
                </a:moveTo>
                <a:lnTo>
                  <a:pt x="0" y="5721285"/>
                </a:lnTo>
                <a:lnTo>
                  <a:pt x="4898379" y="5280032"/>
                </a:lnTo>
                <a:lnTo>
                  <a:pt x="5548719" y="290951"/>
                </a:lnTo>
                <a:lnTo>
                  <a:pt x="0" y="0"/>
                </a:lnTo>
                <a:close/>
              </a:path>
            </a:pathLst>
          </a:custGeom>
          <a:solidFill>
            <a:srgbClr val="629B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bg object 30"/>
          <p:cNvSpPr/>
          <p:nvPr userDrawn="1"/>
        </p:nvSpPr>
        <p:spPr>
          <a:xfrm>
            <a:off x="4898376" y="2929000"/>
            <a:ext cx="2616200" cy="4989195"/>
          </a:xfrm>
          <a:custGeom>
            <a:avLst/>
            <a:gdLst/>
            <a:ahLst/>
            <a:cxnLst/>
            <a:rect l="l" t="t" r="r" b="b"/>
            <a:pathLst>
              <a:path w="2616200" h="4989195">
                <a:moveTo>
                  <a:pt x="650828" y="0"/>
                </a:moveTo>
                <a:lnTo>
                  <a:pt x="650339" y="0"/>
                </a:lnTo>
                <a:lnTo>
                  <a:pt x="0" y="4989051"/>
                </a:lnTo>
                <a:lnTo>
                  <a:pt x="1779805" y="4828723"/>
                </a:lnTo>
                <a:lnTo>
                  <a:pt x="2615896" y="103035"/>
                </a:lnTo>
                <a:lnTo>
                  <a:pt x="650828" y="0"/>
                </a:lnTo>
                <a:close/>
              </a:path>
            </a:pathLst>
          </a:custGeom>
          <a:solidFill>
            <a:srgbClr val="09867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bg object 31"/>
          <p:cNvSpPr/>
          <p:nvPr userDrawn="1"/>
        </p:nvSpPr>
        <p:spPr>
          <a:xfrm>
            <a:off x="6678184" y="3032037"/>
            <a:ext cx="4688205" cy="4726305"/>
          </a:xfrm>
          <a:custGeom>
            <a:avLst/>
            <a:gdLst/>
            <a:ahLst/>
            <a:cxnLst/>
            <a:rect l="l" t="t" r="r" b="b"/>
            <a:pathLst>
              <a:path w="4688205" h="4726305">
                <a:moveTo>
                  <a:pt x="836090" y="0"/>
                </a:moveTo>
                <a:lnTo>
                  <a:pt x="0" y="4725687"/>
                </a:lnTo>
                <a:lnTo>
                  <a:pt x="3558061" y="4405171"/>
                </a:lnTo>
                <a:lnTo>
                  <a:pt x="4688087" y="201980"/>
                </a:lnTo>
                <a:lnTo>
                  <a:pt x="836090" y="0"/>
                </a:lnTo>
                <a:close/>
              </a:path>
            </a:pathLst>
          </a:custGeom>
          <a:solidFill>
            <a:srgbClr val="06B3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bg object 32"/>
          <p:cNvSpPr/>
          <p:nvPr userDrawn="1"/>
        </p:nvSpPr>
        <p:spPr>
          <a:xfrm>
            <a:off x="10236249" y="3234055"/>
            <a:ext cx="3479800" cy="4203700"/>
          </a:xfrm>
          <a:custGeom>
            <a:avLst/>
            <a:gdLst/>
            <a:ahLst/>
            <a:cxnLst/>
            <a:rect l="l" t="t" r="r" b="b"/>
            <a:pathLst>
              <a:path w="3479800" h="4203700">
                <a:moveTo>
                  <a:pt x="1130761" y="0"/>
                </a:moveTo>
                <a:lnTo>
                  <a:pt x="1130018" y="0"/>
                </a:lnTo>
                <a:lnTo>
                  <a:pt x="0" y="4203153"/>
                </a:lnTo>
                <a:lnTo>
                  <a:pt x="3479750" y="3889692"/>
                </a:lnTo>
                <a:lnTo>
                  <a:pt x="3479750" y="123171"/>
                </a:lnTo>
                <a:lnTo>
                  <a:pt x="1130761" y="0"/>
                </a:lnTo>
                <a:close/>
              </a:path>
            </a:pathLst>
          </a:custGeom>
          <a:solidFill>
            <a:srgbClr val="0D6C8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752475" y="1100514"/>
            <a:ext cx="10211048" cy="12223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600" b="0" i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298643" y="7740122"/>
            <a:ext cx="11169650" cy="49218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200" b="0" i="0">
                <a:solidFill>
                  <a:srgbClr val="353081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0270959" y="15602126"/>
            <a:ext cx="1228725" cy="4933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rgbClr val="332C80"/>
                </a:solidFill>
                <a:latin typeface="Lucida Sans Unicode"/>
                <a:cs typeface="Lucida Sans Unicode"/>
              </a:defRPr>
            </a:lvl1pPr>
          </a:lstStyle>
          <a:p>
            <a:pPr marL="12700" marR="5080" indent="657225">
              <a:lnSpc>
                <a:spcPct val="101200"/>
              </a:lnSpc>
              <a:spcBef>
                <a:spcPts val="165"/>
              </a:spcBef>
            </a:pPr>
            <a:r>
              <a:rPr spc="-10" dirty="0"/>
              <a:t>Kindly </a:t>
            </a:r>
            <a:r>
              <a:rPr dirty="0"/>
              <a:t>supported</a:t>
            </a:r>
            <a:r>
              <a:rPr spc="280" dirty="0"/>
              <a:t> </a:t>
            </a:r>
            <a:r>
              <a:rPr spc="35" dirty="0"/>
              <a:t>by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85800" y="15944850"/>
            <a:ext cx="3154680" cy="8572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0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9875520" y="15944850"/>
            <a:ext cx="3154680" cy="8572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D4A872B-757C-2121-4150-C110C1261EFF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2282488" y="16746220"/>
            <a:ext cx="1433512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2200">
                <a:solidFill>
                  <a:srgbClr val="FF8939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F9B04528-0A75-022B-1074-C91F4B08AD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80E9C7EC-1284-6196-9042-E2DCA46634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79B591A-2ACB-E6A0-65AD-00C699F3A9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E19D093F-4F5D-4D29-82A5-4BEB4900F0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54725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2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16LV8aN6dNNhaZ5OtuIHD8EAAAAAAADAAAAAAADAAAAAwADAAAAAAADAAAABAADAAAAAAADAAAABAADAAAAAAD///////8DAAEA////////BQAAAAMAEAALU8Aa53UVKkKXfs1agzW4hwQAAAABAAMAAAACAAMAAAAEAAQAAwD///////8FAAAABAAQAAvDJV3xDzmiQLrkvKOfPjv2BAAAAAIAAwAAAAMAAwAAAAEAAwAAAAIA////////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XotXxo3p002Fpnk624gcPwNEYXRhABsAAAAETGlua2VkU2hhcGVEYXRhAAUAAAAAAAJOYW1lABkAAABMaW5rZWRTaGFwZXNEYXRhUHJvcGVydHkAEFZlcnNpb24AAQAAAAlMYXN0V3JpdGUA9WEypZkBAAAAAQD/////gwCDAAAABV9pZAAQAAAABFPAGud1FSpCl37NWoM1uIcDRGF0YQAbAAAABExpbmtlZFNoYXBlRGF0YQAFAAAAAAACTmFtZQAZAAAATGlua2VkU2hhcGVzRGF0YVByb3BlcnR5ABBWZXJzaW9uAAAAAAAJTGFzdFdyaXRlANVhMqWZAQAAAAIA/////8YAxgAAAAVfaWQAEAAAAATDJV3xDzmiQLrkvKOfPjv2A0RhdGEAUwAAAAhQcmVzZW50YXRpb25TY2FubmVkRm9yTGlua2VkU2hhcGVzAAACTnVtYmVyRm9ybWF0U2VwYXJhdG9yTW9kZQAKAAAAQXV0b21hdGljAAACTmFtZQAkAAAATGlua2VkU2hhcGVQcmVzZW50YXRpb25TZXR0aW5nc0RhdGEAEFZlcnNpb24AAAAAAAlMYXN0V3JpdGUA+GEypZ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xCwAAAAAAAAAAAAAgAf///////////////wAAAP///////////////wUAAAAEAP///////wUAAAAEAP///////wUAAAAE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GgAGTGlua2VkU2hhcGVzRGF0YVByb3BlcnR5XzEEAAAAAAAFAAAAAwAFAAAAAQAFAAAABAD///////8FAAAABAD///////8FAAAAAAD///////8DAAEBAwAAAAMA////////GgAGTGlua2VkU2hhcGVzRGF0YVByb3BlcnR5XzAEAAAAAQAFAAAABAAFAAAAAgAEAAMBAwAAAAQA////////JQAGTGlua2VkU2hhcGVQcmVzZW50YXRpb25TZXR0aW5nc0RhdGFfMAQAAAACAAUAAAAAAAUAAAADAAUAAAAAAAUAAAACAAUAAAAA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950099666968146"/>
  <p:tag name="EMPOWERCHARTSPROPERTIES_A_LENGTH" val="24576"/>
</p:tagLst>
</file>

<file path=ppt/theme/theme1.xml><?xml version="1.0" encoding="utf-8"?>
<a:theme xmlns:a="http://schemas.openxmlformats.org/drawingml/2006/main" name="STEP OUT - Social Media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Microsoft Office PowerPoint</Application>
  <PresentationFormat>Benutzerdefiniert</PresentationFormat>
  <Paragraphs>0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 Black</vt:lpstr>
      <vt:lpstr>Calibri</vt:lpstr>
      <vt:lpstr>DM Sans</vt:lpstr>
      <vt:lpstr>Lucida Sans Unicode</vt:lpstr>
      <vt:lpstr>Poppins</vt:lpstr>
      <vt:lpstr>STEP OUT - Social Media Templat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titled-1</dc:title>
  <dc:creator>Dawid Kazmierczak</dc:creator>
  <cp:lastModifiedBy>Angela Rogalla von Bieberstein</cp:lastModifiedBy>
  <cp:revision>2</cp:revision>
  <dcterms:created xsi:type="dcterms:W3CDTF">2025-10-02T13:52:43Z</dcterms:created>
  <dcterms:modified xsi:type="dcterms:W3CDTF">2025-10-10T10:05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5-10-02T00:00:00Z</vt:filetime>
  </property>
  <property fmtid="{D5CDD505-2E9C-101B-9397-08002B2CF9AE}" pid="3" name="Creator">
    <vt:lpwstr>Adobe Illustrator 29.0 (Windows)</vt:lpwstr>
  </property>
  <property fmtid="{D5CDD505-2E9C-101B-9397-08002B2CF9AE}" pid="4" name="LastSaved">
    <vt:filetime>2025-10-02T00:00:00Z</vt:filetime>
  </property>
  <property fmtid="{D5CDD505-2E9C-101B-9397-08002B2CF9AE}" pid="5" name="Producer">
    <vt:lpwstr>Adobe PDF library 17.00</vt:lpwstr>
  </property>
  <property fmtid="{D5CDD505-2E9C-101B-9397-08002B2CF9AE}" pid="6" name="MSIP_Label_2c76c141-ac86-40e5-abf2-c6f60e474cee_Enabled">
    <vt:lpwstr>true</vt:lpwstr>
  </property>
  <property fmtid="{D5CDD505-2E9C-101B-9397-08002B2CF9AE}" pid="7" name="MSIP_Label_2c76c141-ac86-40e5-abf2-c6f60e474cee_SetDate">
    <vt:lpwstr>2025-10-02T13:52:55Z</vt:lpwstr>
  </property>
  <property fmtid="{D5CDD505-2E9C-101B-9397-08002B2CF9AE}" pid="8" name="MSIP_Label_2c76c141-ac86-40e5-abf2-c6f60e474cee_Method">
    <vt:lpwstr>Standard</vt:lpwstr>
  </property>
  <property fmtid="{D5CDD505-2E9C-101B-9397-08002B2CF9AE}" pid="9" name="MSIP_Label_2c76c141-ac86-40e5-abf2-c6f60e474cee_Name">
    <vt:lpwstr>2c76c141-ac86-40e5-abf2-c6f60e474cee</vt:lpwstr>
  </property>
  <property fmtid="{D5CDD505-2E9C-101B-9397-08002B2CF9AE}" pid="10" name="MSIP_Label_2c76c141-ac86-40e5-abf2-c6f60e474cee_SiteId">
    <vt:lpwstr>fcb2b37b-5da0-466b-9b83-0014b67a7c78</vt:lpwstr>
  </property>
  <property fmtid="{D5CDD505-2E9C-101B-9397-08002B2CF9AE}" pid="11" name="MSIP_Label_2c76c141-ac86-40e5-abf2-c6f60e474cee_ActionId">
    <vt:lpwstr>39706932-b7fb-44b4-b554-20b9c863b6ef</vt:lpwstr>
  </property>
  <property fmtid="{D5CDD505-2E9C-101B-9397-08002B2CF9AE}" pid="12" name="MSIP_Label_2c76c141-ac86-40e5-abf2-c6f60e474cee_ContentBits">
    <vt:lpwstr>2</vt:lpwstr>
  </property>
  <property fmtid="{D5CDD505-2E9C-101B-9397-08002B2CF9AE}" pid="13" name="MSIP_Label_2c76c141-ac86-40e5-abf2-c6f60e474cee_Tag">
    <vt:lpwstr>10, 3, 0, 1</vt:lpwstr>
  </property>
  <property fmtid="{D5CDD505-2E9C-101B-9397-08002B2CF9AE}" pid="14" name="ClassificationContentMarkingFooterLocations">
    <vt:lpwstr>Office Theme:8</vt:lpwstr>
  </property>
  <property fmtid="{D5CDD505-2E9C-101B-9397-08002B2CF9AE}" pid="15" name="ClassificationContentMarkingFooterText">
    <vt:lpwstr>RESTRICTED</vt:lpwstr>
  </property>
</Properties>
</file>